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1"/>
    <p:sldMasterId id="2147484352" r:id="rId2"/>
  </p:sldMasterIdLst>
  <p:notesMasterIdLst>
    <p:notesMasterId r:id="rId55"/>
  </p:notesMasterIdLst>
  <p:handoutMasterIdLst>
    <p:handoutMasterId r:id="rId56"/>
  </p:handoutMasterIdLst>
  <p:sldIdLst>
    <p:sldId id="1411" r:id="rId3"/>
    <p:sldId id="1441" r:id="rId4"/>
    <p:sldId id="1365" r:id="rId5"/>
    <p:sldId id="1421" r:id="rId6"/>
    <p:sldId id="1422" r:id="rId7"/>
    <p:sldId id="1425" r:id="rId8"/>
    <p:sldId id="1429" r:id="rId9"/>
    <p:sldId id="1426" r:id="rId10"/>
    <p:sldId id="1427" r:id="rId11"/>
    <p:sldId id="1428" r:id="rId12"/>
    <p:sldId id="1473" r:id="rId13"/>
    <p:sldId id="1430" r:id="rId14"/>
    <p:sldId id="1474" r:id="rId15"/>
    <p:sldId id="1435" r:id="rId16"/>
    <p:sldId id="1475" r:id="rId17"/>
    <p:sldId id="1431" r:id="rId18"/>
    <p:sldId id="1432" r:id="rId19"/>
    <p:sldId id="1438" r:id="rId20"/>
    <p:sldId id="1439" r:id="rId21"/>
    <p:sldId id="1442" r:id="rId22"/>
    <p:sldId id="1433" r:id="rId23"/>
    <p:sldId id="1437" r:id="rId24"/>
    <p:sldId id="1443" r:id="rId25"/>
    <p:sldId id="1444" r:id="rId26"/>
    <p:sldId id="1470" r:id="rId27"/>
    <p:sldId id="1446" r:id="rId28"/>
    <p:sldId id="1447" r:id="rId29"/>
    <p:sldId id="1448" r:id="rId30"/>
    <p:sldId id="1450" r:id="rId31"/>
    <p:sldId id="1449" r:id="rId32"/>
    <p:sldId id="1451" r:id="rId33"/>
    <p:sldId id="1452" r:id="rId34"/>
    <p:sldId id="1453" r:id="rId35"/>
    <p:sldId id="1455" r:id="rId36"/>
    <p:sldId id="1454" r:id="rId37"/>
    <p:sldId id="1456" r:id="rId38"/>
    <p:sldId id="1467" r:id="rId39"/>
    <p:sldId id="1471" r:id="rId40"/>
    <p:sldId id="1469" r:id="rId41"/>
    <p:sldId id="1458" r:id="rId42"/>
    <p:sldId id="1459" r:id="rId43"/>
    <p:sldId id="1460" r:id="rId44"/>
    <p:sldId id="1461" r:id="rId45"/>
    <p:sldId id="1463" r:id="rId46"/>
    <p:sldId id="1464" r:id="rId47"/>
    <p:sldId id="1465" r:id="rId48"/>
    <p:sldId id="1434" r:id="rId49"/>
    <p:sldId id="1468" r:id="rId50"/>
    <p:sldId id="1419" r:id="rId51"/>
    <p:sldId id="1476" r:id="rId52"/>
    <p:sldId id="1477" r:id="rId53"/>
    <p:sldId id="1326" r:id="rId54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gnite 2016" id="{A073DAE3-B461-442F-A3D3-6642BD875E45}">
          <p14:sldIdLst>
            <p14:sldId id="1411"/>
            <p14:sldId id="1441"/>
            <p14:sldId id="1365"/>
            <p14:sldId id="1421"/>
            <p14:sldId id="1422"/>
            <p14:sldId id="1425"/>
            <p14:sldId id="1429"/>
            <p14:sldId id="1426"/>
            <p14:sldId id="1427"/>
            <p14:sldId id="1428"/>
            <p14:sldId id="1473"/>
            <p14:sldId id="1430"/>
            <p14:sldId id="1474"/>
            <p14:sldId id="1435"/>
            <p14:sldId id="1475"/>
            <p14:sldId id="1431"/>
            <p14:sldId id="1432"/>
            <p14:sldId id="1438"/>
            <p14:sldId id="1439"/>
            <p14:sldId id="1442"/>
            <p14:sldId id="1433"/>
            <p14:sldId id="1437"/>
            <p14:sldId id="1443"/>
            <p14:sldId id="1444"/>
            <p14:sldId id="1470"/>
            <p14:sldId id="1446"/>
            <p14:sldId id="1447"/>
            <p14:sldId id="1448"/>
            <p14:sldId id="1450"/>
            <p14:sldId id="1449"/>
            <p14:sldId id="1451"/>
            <p14:sldId id="1452"/>
            <p14:sldId id="1453"/>
            <p14:sldId id="1455"/>
            <p14:sldId id="1454"/>
            <p14:sldId id="1456"/>
            <p14:sldId id="1467"/>
            <p14:sldId id="1471"/>
            <p14:sldId id="1469"/>
            <p14:sldId id="1458"/>
            <p14:sldId id="1459"/>
            <p14:sldId id="1460"/>
            <p14:sldId id="1461"/>
            <p14:sldId id="1463"/>
            <p14:sldId id="1464"/>
            <p14:sldId id="1465"/>
            <p14:sldId id="1434"/>
            <p14:sldId id="1468"/>
            <p14:sldId id="1419"/>
            <p14:sldId id="1476"/>
            <p14:sldId id="1477"/>
            <p14:sldId id="1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44">
          <p15:clr>
            <a:srgbClr val="A4A3A4"/>
          </p15:clr>
        </p15:guide>
        <p15:guide id="2" pos="7546">
          <p15:clr>
            <a:srgbClr val="A4A3A4"/>
          </p15:clr>
        </p15:guide>
        <p15:guide id="3" pos="632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5012"/>
    <a:srgbClr val="000000"/>
    <a:srgbClr val="FFB900"/>
    <a:srgbClr val="F7F7F7"/>
    <a:srgbClr val="A80000"/>
    <a:srgbClr val="FF8C00"/>
    <a:srgbClr val="D83B01"/>
    <a:srgbClr val="505050"/>
    <a:srgbClr val="29292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17" autoAdjust="0"/>
    <p:restoredTop sz="91119" autoAdjust="0"/>
  </p:normalViewPr>
  <p:slideViewPr>
    <p:cSldViewPr>
      <p:cViewPr varScale="1">
        <p:scale>
          <a:sx n="102" d="100"/>
          <a:sy n="102" d="100"/>
        </p:scale>
        <p:origin x="891" y="69"/>
      </p:cViewPr>
      <p:guideLst>
        <p:guide orient="horz" pos="4244"/>
        <p:guide pos="7546"/>
        <p:guide pos="632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75" d="100"/>
        <a:sy n="75" d="100"/>
      </p:scale>
      <p:origin x="0" y="-1122"/>
    </p:cViewPr>
  </p:sorterViewPr>
  <p:notesViewPr>
    <p:cSldViewPr showGuides="1">
      <p:cViewPr varScale="1">
        <p:scale>
          <a:sx n="73" d="100"/>
          <a:sy n="73" d="100"/>
        </p:scale>
        <p:origin x="3174" y="5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commentAuthors" Target="commentAuthors.xml"/><Relationship Id="rId61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>
                <a:latin typeface="Segoe UI" pitchFamily="34" charset="0"/>
              </a:rPr>
              <a:t>Microsoft Ignite 2016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6-Feb-17 11:37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/>
              <a:t>Microsoft Ignite 2016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9520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08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2208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3790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The purpose of this slide is to ensure delegates</a:t>
            </a:r>
            <a:r>
              <a:rPr lang="en-AU" baseline="0" dirty="0"/>
              <a:t> consider their next steps after your presentation. </a:t>
            </a:r>
          </a:p>
          <a:p>
            <a:endParaRPr lang="en-AU" baseline="0" dirty="0"/>
          </a:p>
          <a:p>
            <a:r>
              <a:rPr lang="en-AU" baseline="0" dirty="0"/>
              <a:t>Option to use this slide in the current generic format or for you to recommend 1 (or more) Microsoft Virtual Academy Course or Channel 9 video that is relevant next steps from your presentation.</a:t>
            </a:r>
          </a:p>
          <a:p>
            <a:endParaRPr lang="en-AU" baseline="0" dirty="0"/>
          </a:p>
          <a:p>
            <a:r>
              <a:rPr lang="en-AU" baseline="0" dirty="0"/>
              <a:t>Thank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0EC29EE-A8AD-4CE0-9C0B-116E0D4D7533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8446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A17D118-1690-458F-B4D2-F9DA5D6F5033}" type="datetime8">
              <a:rPr lang="en-US" smtClean="0">
                <a:solidFill>
                  <a:prstClr val="black"/>
                </a:solidFill>
              </a:rPr>
              <a:t>16-Feb-17 11:34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5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861498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D10C09F-FCA1-48C8-B40D-42E1045D109E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190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3739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7298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0633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319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25919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8660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6-Feb-17 11:3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431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7" Type="http://schemas.openxmlformats.org/officeDocument/2006/relationships/image" Target="../media/image7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Walk_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Picture 16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28" r="1367" b="17573"/>
          <a:stretch/>
        </p:blipFill>
        <p:spPr>
          <a:xfrm>
            <a:off x="-1" y="0"/>
            <a:ext cx="12436476" cy="6323195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85005" y="3799808"/>
            <a:ext cx="8208912" cy="8494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NZ" sz="4000" dirty="0">
                <a:solidFill>
                  <a:schemeClr val="bg1"/>
                </a:solidFill>
                <a:latin typeface="+mj-lt"/>
              </a:rPr>
              <a:t>Spark your future</a:t>
            </a:r>
          </a:p>
        </p:txBody>
      </p:sp>
      <p:pic>
        <p:nvPicPr>
          <p:cNvPr id="2" name="Picture 1" descr="Ignite_logos-02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8467" y="2345134"/>
            <a:ext cx="7056785" cy="2352262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6305574"/>
            <a:ext cx="12436475" cy="68895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 descr="MSFT_logo_c_C-Gray_D_C-Gray_D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701" y="6305574"/>
            <a:ext cx="1800200" cy="662191"/>
          </a:xfrm>
          <a:prstGeom prst="rect">
            <a:avLst/>
          </a:prstGeom>
        </p:spPr>
      </p:pic>
      <p:pic>
        <p:nvPicPr>
          <p:cNvPr id="57" name="Picture 56" descr="IgniteOrange_Illustration_ExShortHorz_RGB.pn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2" t="9763" r="13747" b="34500"/>
          <a:stretch/>
        </p:blipFill>
        <p:spPr>
          <a:xfrm>
            <a:off x="-1" y="-1"/>
            <a:ext cx="12436475" cy="2233461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66414" y="2104008"/>
            <a:ext cx="2483471" cy="584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902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4276 8.39764E-7 L 1.31478E-6 8.39764E-7 " pathEditMode="relative" rAng="0" ptsTypes="AA">
                                      <p:cBhvr>
                                        <p:cTn id="12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3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8954541" y="6449590"/>
            <a:ext cx="3481934" cy="54493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6218238" y="1409030"/>
            <a:ext cx="5903912" cy="3312368"/>
          </a:xfrm>
        </p:spPr>
        <p:txBody>
          <a:bodyPr anchor="ctr"/>
          <a:lstStyle>
            <a:lvl1pPr marL="0" indent="0" algn="ctr">
              <a:buNone/>
              <a:defRPr sz="3200"/>
            </a:lvl1pPr>
          </a:lstStyle>
          <a:p>
            <a:r>
              <a:rPr lang="en-AU" dirty="0"/>
              <a:t>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D83B01"/>
                </a:soli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09030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409030"/>
            <a:ext cx="0" cy="5328592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381829"/>
            <a:ext cx="5486400" cy="3315834"/>
          </a:xfrm>
        </p:spPr>
        <p:txBody>
          <a:bodyPr lIns="36000" tIns="146304" rIns="182880" bIns="146304">
            <a:no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4"/>
            <a:ext cx="5943600" cy="1868758"/>
          </a:xfrm>
          <a:solidFill>
            <a:schemeClr val="accent1"/>
          </a:solidFill>
        </p:spPr>
        <p:txBody>
          <a:bodyPr lIns="182880" tIns="146304" rIns="182880" bIns="146304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080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436475" cy="63055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633166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693206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6305574"/>
            <a:ext cx="12436475" cy="688951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6" name="Picture 5" descr="MSFT_logo_c_C-Gray_D_C-Gray_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701" y="6305574"/>
            <a:ext cx="1800200" cy="6621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406" y="1841078"/>
            <a:ext cx="2483471" cy="584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2098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436475" cy="63055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849190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305574"/>
            <a:ext cx="12436475" cy="688951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Picture 7" descr="MSFT_logo_c_C-Gray_D_C-Gray_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701" y="6305574"/>
            <a:ext cx="1800200" cy="6621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406" y="1841078"/>
            <a:ext cx="2483471" cy="584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69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436475" cy="6305550"/>
          </a:xfrm>
          <a:prstGeom prst="rect">
            <a:avLst/>
          </a:prstGeom>
          <a:solidFill>
            <a:srgbClr val="FFB9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849190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6305574"/>
            <a:ext cx="12436475" cy="688951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6" name="Picture 5" descr="MSFT_logo_c_C-Gray_D_C-Gray_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701" y="6305574"/>
            <a:ext cx="1800200" cy="6621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406" y="1841078"/>
            <a:ext cx="2483471" cy="584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398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436475" cy="6305550"/>
          </a:xfrm>
          <a:prstGeom prst="rect">
            <a:avLst/>
          </a:prstGeom>
          <a:solidFill>
            <a:srgbClr val="A80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849190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6305574"/>
            <a:ext cx="12436475" cy="688951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6" name="Picture 5" descr="MSFT_logo_c_C-Gray_D_C-Gray_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701" y="6305574"/>
            <a:ext cx="1800200" cy="6621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406" y="1841078"/>
            <a:ext cx="2483471" cy="584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398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436475" cy="6305550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8C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849190"/>
            <a:ext cx="11887200" cy="1200329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6305574"/>
            <a:ext cx="12436475" cy="688951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6" name="Picture 5" descr="MSFT_logo_c_C-Gray_D_C-Gray_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701" y="6305574"/>
            <a:ext cx="1800200" cy="6621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406" y="1841078"/>
            <a:ext cx="2483471" cy="584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398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857875" y="0"/>
            <a:ext cx="6578600" cy="69945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9858" y="479425"/>
            <a:ext cx="5285745" cy="1217637"/>
          </a:xfrm>
        </p:spPr>
        <p:txBody>
          <a:bodyPr wrap="square" anchor="b">
            <a:noAutofit/>
          </a:bodyPr>
          <a:lstStyle>
            <a:lvl1pPr>
              <a:lnSpc>
                <a:spcPct val="80000"/>
              </a:lnSpc>
              <a:defRPr lang="en-US" sz="4800" b="0" kern="1200" cap="none" spc="-102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50/50 photo layout title here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57200" y="1841078"/>
            <a:ext cx="5303838" cy="4856585"/>
          </a:xfrm>
        </p:spPr>
        <p:txBody>
          <a:bodyPr lIns="36000" tIns="146304" rIns="182880" bIns="146304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 descr="Ignite_logos-02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2653" y="6233566"/>
            <a:ext cx="2185320" cy="728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974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436475" cy="6305550"/>
          </a:xfrm>
          <a:prstGeom prst="rect">
            <a:avLst/>
          </a:prstGeom>
          <a:solidFill>
            <a:srgbClr val="FFB9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6305574"/>
            <a:ext cx="12436475" cy="688951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Picture 4" descr="MSFT_logo_c_C-Gray_D_C-Gray_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701" y="6305574"/>
            <a:ext cx="1800200" cy="66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3319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436475" cy="6305550"/>
          </a:xfrm>
          <a:prstGeom prst="rect">
            <a:avLst/>
          </a:prstGeom>
          <a:solidFill>
            <a:srgbClr val="A80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6305574"/>
            <a:ext cx="12436475" cy="688951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Picture 4" descr="MSFT_logo_c_C-Gray_D_C-Gray_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701" y="6305574"/>
            <a:ext cx="1800200" cy="66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257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28" r="1367" b="17573"/>
          <a:stretch/>
        </p:blipFill>
        <p:spPr>
          <a:xfrm>
            <a:off x="0" y="0"/>
            <a:ext cx="12436476" cy="6323195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332933" y="3713287"/>
            <a:ext cx="7382067" cy="967314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ssion Code</a:t>
            </a:r>
          </a:p>
          <a:p>
            <a:pPr lvl="0"/>
            <a:r>
              <a:rPr lang="en-US" dirty="0"/>
              <a:t>Speaker Name</a:t>
            </a:r>
          </a:p>
        </p:txBody>
      </p:sp>
      <p:sp>
        <p:nvSpPr>
          <p:cNvPr id="165" name="Text Placeholder 4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16053" y="2350419"/>
            <a:ext cx="7382067" cy="1492369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54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0" y="6305574"/>
            <a:ext cx="12436475" cy="68895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pic>
        <p:nvPicPr>
          <p:cNvPr id="49" name="Picture 48" descr="MSFT_logo_c_C-Gray_D_C-Gray_D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701" y="6305574"/>
            <a:ext cx="1800200" cy="662191"/>
          </a:xfrm>
          <a:prstGeom prst="rect">
            <a:avLst/>
          </a:prstGeom>
        </p:spPr>
      </p:pic>
      <p:pic>
        <p:nvPicPr>
          <p:cNvPr id="52" name="Picture 51" descr="IgniteOrange_Illustration_ExShortHorz_RGB.png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2" t="9763" r="13747" b="34500"/>
          <a:stretch/>
        </p:blipFill>
        <p:spPr>
          <a:xfrm>
            <a:off x="-1" y="-1"/>
            <a:ext cx="12436475" cy="2233461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66414" y="2104008"/>
            <a:ext cx="2483471" cy="584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0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9674621" y="6305574"/>
            <a:ext cx="2761854" cy="688951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AU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78529181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28" r="1367" b="9589"/>
          <a:stretch/>
        </p:blipFill>
        <p:spPr>
          <a:xfrm>
            <a:off x="0" y="0"/>
            <a:ext cx="12436476" cy="6994525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9674621" y="6377582"/>
            <a:ext cx="244827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sz="2400" dirty="0">
                <a:solidFill>
                  <a:schemeClr val="tx1"/>
                </a:solidFill>
                <a:latin typeface="+mj-lt"/>
              </a:rPr>
              <a:t>Microsoft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gnite</a:t>
            </a:r>
            <a:endParaRPr lang="en-AU" sz="240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74638" y="2849190"/>
            <a:ext cx="11887200" cy="1181862"/>
          </a:xfrm>
        </p:spPr>
        <p:txBody>
          <a:bodyPr/>
          <a:lstStyle>
            <a:lvl1pPr>
              <a:defRPr sz="7200"/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05574"/>
            <a:ext cx="12436475" cy="688951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2" name="Picture 11" descr="MSFT_logo_c_C-Gray_D_C-Gray_D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701" y="6363463"/>
            <a:ext cx="1800200" cy="66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6305574"/>
            <a:ext cx="12436475" cy="688951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" name="Picture 2" descr="MSFT_logo_c_C-Gray_D_C-Gray_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701" y="6363463"/>
            <a:ext cx="1800200" cy="66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159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104750_Speaker TemplateART_v01-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"/>
            <a:ext cx="12436476" cy="700173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779786" y="3298509"/>
            <a:ext cx="4358333" cy="802082"/>
          </a:xfrm>
          <a:prstGeom prst="rect">
            <a:avLst/>
          </a:prstGeom>
        </p:spPr>
        <p:txBody>
          <a:bodyPr wrap="none" lIns="91418" tIns="45708" rIns="91418" bIns="45708" anchor="ctr">
            <a:spAutoFit/>
          </a:bodyPr>
          <a:lstStyle/>
          <a:p>
            <a:pPr algn="r" defTabSz="1165536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5000" b="0" kern="1200" cap="none" spc="-125" baseline="0" noProof="0" dirty="0">
                <a:ln w="3175">
                  <a:noFill/>
                </a:ln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rPr>
              <a:t>Spark the future.</a:t>
            </a:r>
            <a:endParaRPr lang="en-US" sz="5000" b="0" kern="1200" cap="none" spc="-125" baseline="0" dirty="0">
              <a:ln w="3175">
                <a:noFill/>
              </a:ln>
              <a:gradFill>
                <a:gsLst>
                  <a:gs pos="84066">
                    <a:srgbClr val="000000"/>
                  </a:gs>
                  <a:gs pos="57576">
                    <a:srgbClr val="000000"/>
                  </a:gs>
                </a:gsLst>
                <a:lin ang="5400000" scaled="0"/>
              </a:gradFill>
              <a:effectLst/>
              <a:latin typeface="+mj-lt"/>
              <a:ea typeface="+mn-ea"/>
              <a:cs typeface="Segoe UI" pitchFamily="34" charset="0"/>
            </a:endParaRPr>
          </a:p>
        </p:txBody>
      </p:sp>
      <p:pic>
        <p:nvPicPr>
          <p:cNvPr id="8" name="Picture 7" descr="Identlockup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439"/>
          <a:stretch/>
        </p:blipFill>
        <p:spPr>
          <a:xfrm>
            <a:off x="2166319" y="4145335"/>
            <a:ext cx="2971799" cy="1210236"/>
          </a:xfrm>
          <a:prstGeom prst="rect">
            <a:avLst/>
          </a:prstGeom>
        </p:spPr>
      </p:pic>
      <p:pic>
        <p:nvPicPr>
          <p:cNvPr id="6" name="Picture 5" descr="MSFT_logo_rgb_C-Wht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61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04750_Speaker TemplateART_v01-0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210"/>
            <a:ext cx="12436475" cy="700173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58397" y="5006660"/>
            <a:ext cx="8304022" cy="877161"/>
          </a:xfrm>
          <a:solidFill>
            <a:srgbClr val="ED5F19"/>
          </a:solidFill>
        </p:spPr>
        <p:txBody>
          <a:bodyPr anchor="ctr" anchorCtr="0">
            <a:normAutofit/>
          </a:bodyPr>
          <a:lstStyle>
            <a:lvl1pPr algn="l"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8398" y="2504977"/>
            <a:ext cx="10167128" cy="2501685"/>
          </a:xfrm>
          <a:solidFill>
            <a:srgbClr val="C74405"/>
          </a:solidFill>
          <a:ln>
            <a:noFill/>
          </a:ln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buNone/>
              <a:defRPr sz="7300">
                <a:solidFill>
                  <a:schemeClr val="bg1"/>
                </a:solidFill>
              </a:defRPr>
            </a:lvl1pPr>
            <a:lvl2pPr marL="62163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4326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86489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8653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10816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72979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35142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97306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ssion tit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8762419" y="5006660"/>
            <a:ext cx="1863107" cy="877161"/>
          </a:xfrm>
          <a:solidFill>
            <a:srgbClr val="FEC914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9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ABC101</a:t>
            </a:r>
          </a:p>
        </p:txBody>
      </p:sp>
      <p:pic>
        <p:nvPicPr>
          <p:cNvPr id="9" name="Picture 8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52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04750_Speaker TemplateART_v01-0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210"/>
            <a:ext cx="12436475" cy="700173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1615" y="2125662"/>
            <a:ext cx="10056812" cy="1201326"/>
          </a:xfrm>
          <a:noFill/>
        </p:spPr>
        <p:txBody>
          <a:bodyPr tIns="91418" bIns="91418" anchor="t" anchorCtr="0">
            <a:spAutoFit/>
          </a:bodyPr>
          <a:lstStyle>
            <a:lvl1pPr>
              <a:defRPr lang="en-US" sz="7200" b="0" kern="1200" cap="none" spc="-101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7" name="Picture 6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078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104750_Speaker TemplateART_v01-0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9708" y="-103138"/>
            <a:ext cx="12506185" cy="716967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1615" y="2125664"/>
            <a:ext cx="10056812" cy="1200188"/>
          </a:xfrm>
          <a:noFill/>
        </p:spPr>
        <p:txBody>
          <a:bodyPr tIns="91418" bIns="91418" anchor="t" anchorCtr="0">
            <a:spAutoFit/>
          </a:bodyPr>
          <a:lstStyle>
            <a:lvl1pPr>
              <a:defRPr lang="en-US" sz="7200" b="0" kern="1200" cap="none" spc="-101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6" name="Picture 5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22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04750_Speaker TemplateART_v01-0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210"/>
            <a:ext cx="12436475" cy="700173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1615" y="2125664"/>
            <a:ext cx="10056812" cy="1200188"/>
          </a:xfrm>
          <a:noFill/>
        </p:spPr>
        <p:txBody>
          <a:bodyPr tIns="91418" bIns="91418" anchor="t" anchorCtr="0">
            <a:spAutoFit/>
          </a:bodyPr>
          <a:lstStyle>
            <a:lvl1pPr>
              <a:defRPr lang="en-US" sz="7200" b="0" kern="1200" cap="none" spc="-101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67729" y="4881266"/>
            <a:ext cx="10058400" cy="755794"/>
          </a:xfrm>
          <a:noFill/>
        </p:spPr>
        <p:txBody>
          <a:bodyPr lIns="182833" tIns="146267" rIns="182833" bIns="146267">
            <a:spAutoFit/>
          </a:bodyPr>
          <a:lstStyle>
            <a:lvl1pPr marL="0" indent="0">
              <a:spcBef>
                <a:spcPts val="0"/>
              </a:spcBef>
              <a:buNone/>
              <a:defRPr sz="33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9" name="Picture 8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838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04750_Speaker TemplateART_v01-0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210"/>
            <a:ext cx="12436475" cy="700173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1614" y="2125664"/>
            <a:ext cx="11157404" cy="4016272"/>
          </a:xfrm>
          <a:noFill/>
        </p:spPr>
        <p:txBody>
          <a:bodyPr wrap="square" tIns="91418" bIns="91418" anchor="t" anchorCtr="0">
            <a:noAutofit/>
          </a:bodyPr>
          <a:lstStyle>
            <a:lvl1pPr>
              <a:defRPr lang="en-US" sz="6000" b="0" kern="1200" cap="none" spc="-101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pic>
        <p:nvPicPr>
          <p:cNvPr id="9" name="Picture 8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0914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1"/>
            <a:ext cx="11887200" cy="4810578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1056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slide Dark">
    <p:bg>
      <p:bgPr>
        <a:solidFill>
          <a:srgbClr val="D343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104750_Speaker TemplateART_v01-0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436475" cy="7001736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1615" y="2125664"/>
            <a:ext cx="10056812" cy="1200188"/>
          </a:xfrm>
          <a:noFill/>
        </p:spPr>
        <p:txBody>
          <a:bodyPr tIns="91418" bIns="91418" anchor="t" anchorCtr="0">
            <a:spAutoFit/>
          </a:bodyPr>
          <a:lstStyle>
            <a:lvl1pPr>
              <a:defRPr lang="en-US" sz="7200" b="0" kern="1200" cap="none" spc="-101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6" name="Picture 5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983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slide light">
    <p:bg>
      <p:bgPr>
        <a:solidFill>
          <a:srgbClr val="FEAC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104750_Speaker TemplateART_v01-0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36475" cy="700173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1615" y="2125664"/>
            <a:ext cx="10056812" cy="1200188"/>
          </a:xfrm>
          <a:noFill/>
        </p:spPr>
        <p:txBody>
          <a:bodyPr tIns="91418" bIns="91418" anchor="t" anchorCtr="0">
            <a:spAutoFit/>
          </a:bodyPr>
          <a:lstStyle>
            <a:lvl1pPr>
              <a:defRPr lang="en-US" sz="7200" b="0" kern="1200" cap="none" spc="-101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6" name="Picture 5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823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slide light">
    <p:bg>
      <p:bgPr>
        <a:solidFill>
          <a:srgbClr val="FEAC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04750_Speaker TemplateART_v01-0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36475" cy="700173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1615" y="516282"/>
            <a:ext cx="10056812" cy="946413"/>
          </a:xfrm>
          <a:noFill/>
        </p:spPr>
        <p:txBody>
          <a:bodyPr tIns="91418" bIns="91418" anchor="t" anchorCtr="0">
            <a:spAutoFit/>
          </a:bodyPr>
          <a:lstStyle>
            <a:lvl1pPr>
              <a:defRPr lang="en-US" sz="5400" b="0" kern="1200" cap="none" spc="-101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7" name="Picture 6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205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slide light">
    <p:bg>
      <p:bgPr>
        <a:solidFill>
          <a:srgbClr val="FEAC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104750_Speaker TemplateART_v01-0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436475" cy="7001736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1615" y="516282"/>
            <a:ext cx="10056812" cy="946413"/>
          </a:xfrm>
          <a:noFill/>
        </p:spPr>
        <p:txBody>
          <a:bodyPr tIns="91418" bIns="91418" anchor="t" anchorCtr="0">
            <a:spAutoFit/>
          </a:bodyPr>
          <a:lstStyle>
            <a:lvl1pPr>
              <a:defRPr lang="en-US" sz="5400" b="0" kern="1200" cap="none" spc="-101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8" name="Picture 7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049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104750_Speaker TemplateART_v01-06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"/>
            <a:ext cx="12436476" cy="7001736"/>
          </a:xfrm>
          <a:prstGeom prst="rect">
            <a:avLst/>
          </a:prstGeom>
        </p:spPr>
      </p:pic>
      <p:sp>
        <p:nvSpPr>
          <p:cNvPr id="1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7597" y="1439925"/>
            <a:ext cx="11259044" cy="1865632"/>
          </a:xfrm>
          <a:ln>
            <a:solidFill>
              <a:srgbClr val="FFFFFF"/>
            </a:solidFill>
          </a:ln>
        </p:spPr>
        <p:txBody>
          <a:bodyPr anchor="ctr" anchorCtr="0">
            <a:noAutofit/>
          </a:bodyPr>
          <a:lstStyle>
            <a:lvl1pPr marL="0" indent="0">
              <a:buNone/>
              <a:defRPr sz="5400"/>
            </a:lvl1pPr>
            <a:lvl2pPr marL="621633" indent="0">
              <a:buNone/>
              <a:defRPr/>
            </a:lvl2pPr>
          </a:lstStyle>
          <a:p>
            <a:pPr lvl="0"/>
            <a:r>
              <a:rPr lang="en-US" dirty="0"/>
              <a:t>Heading tex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57597" y="3454457"/>
            <a:ext cx="11259044" cy="2516981"/>
          </a:xfrm>
          <a:ln>
            <a:solidFill>
              <a:srgbClr val="FFFFFF"/>
            </a:solidFill>
          </a:ln>
        </p:spPr>
        <p:txBody>
          <a:bodyPr>
            <a:noAutofit/>
          </a:bodyPr>
          <a:lstStyle>
            <a:lvl1pPr marL="0" indent="0">
              <a:buNone/>
              <a:defRPr sz="3300"/>
            </a:lvl1pPr>
            <a:lvl2pPr marL="621633" indent="0">
              <a:buNone/>
              <a:defRPr/>
            </a:lvl2pPr>
          </a:lstStyle>
          <a:p>
            <a:pPr lvl="0"/>
            <a:r>
              <a:rPr lang="en-US" dirty="0"/>
              <a:t>Body copy text</a:t>
            </a:r>
          </a:p>
        </p:txBody>
      </p:sp>
      <p:pic>
        <p:nvPicPr>
          <p:cNvPr id="7" name="Picture 6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706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104750_Speaker TemplateART_v01-06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"/>
            <a:ext cx="12436476" cy="7001736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41573" y="184896"/>
            <a:ext cx="11922630" cy="1027957"/>
          </a:xfrm>
        </p:spPr>
        <p:txBody>
          <a:bodyPr/>
          <a:lstStyle>
            <a:lvl1pPr>
              <a:defRPr sz="3500" baseline="0"/>
            </a:lvl1pPr>
          </a:lstStyle>
          <a:p>
            <a:r>
              <a:rPr lang="en-US" dirty="0"/>
              <a:t>Slide for developer code</a:t>
            </a:r>
          </a:p>
        </p:txBody>
      </p:sp>
      <p:pic>
        <p:nvPicPr>
          <p:cNvPr id="8" name="Picture 7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326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6" y="0"/>
            <a:ext cx="12434711" cy="69945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008" y="405083"/>
            <a:ext cx="11922630" cy="807768"/>
          </a:xfrm>
        </p:spPr>
        <p:txBody>
          <a:bodyPr/>
          <a:lstStyle>
            <a:lvl1pPr>
              <a:defRPr sz="4400"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641" y="2485243"/>
            <a:ext cx="10170704" cy="2518082"/>
          </a:xfrm>
          <a:solidFill>
            <a:srgbClr val="C74405"/>
          </a:solidFill>
        </p:spPr>
        <p:txBody>
          <a:bodyPr>
            <a:noAutofit/>
          </a:bodyPr>
          <a:lstStyle>
            <a:lvl1pPr marL="0" indent="0">
              <a:buNone/>
              <a:defRPr sz="7200">
                <a:solidFill>
                  <a:schemeClr val="bg1"/>
                </a:solidFill>
                <a:latin typeface="+mj-lt"/>
              </a:defRPr>
            </a:lvl1pPr>
            <a:lvl2pPr marL="342785" indent="0">
              <a:buNone/>
              <a:defRPr sz="2900">
                <a:solidFill>
                  <a:schemeClr val="tx1"/>
                </a:solidFill>
                <a:latin typeface="+mj-lt"/>
              </a:defRPr>
            </a:lvl2pPr>
            <a:lvl3pPr marL="571307" indent="0">
              <a:buNone/>
              <a:defRPr sz="2400">
                <a:solidFill>
                  <a:schemeClr val="tx1"/>
                </a:solidFill>
                <a:latin typeface="+mj-lt"/>
              </a:defRPr>
            </a:lvl3pPr>
            <a:lvl4pPr marL="799831" indent="0">
              <a:buNone/>
              <a:defRPr sz="2000">
                <a:solidFill>
                  <a:schemeClr val="tx1"/>
                </a:solidFill>
                <a:latin typeface="+mj-lt"/>
              </a:defRPr>
            </a:lvl4pPr>
            <a:lvl5pPr marL="1028353" indent="0">
              <a:buNone/>
              <a:defRPr sz="2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pic>
        <p:nvPicPr>
          <p:cNvPr id="16" name="Picture 15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  <p:sp>
        <p:nvSpPr>
          <p:cNvPr id="21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438150" y="5003802"/>
            <a:ext cx="10190530" cy="743498"/>
          </a:xfrm>
          <a:solidFill>
            <a:srgbClr val="ED5F19"/>
          </a:solidFill>
          <a:ln>
            <a:solidFill>
              <a:srgbClr val="ED5F19"/>
            </a:solidFill>
          </a:ln>
        </p:spPr>
        <p:txBody>
          <a:bodyPr>
            <a:noAutofit/>
          </a:bodyPr>
          <a:lstStyle>
            <a:lvl1pPr marL="0" indent="0">
              <a:buNone/>
              <a:defRPr sz="3500">
                <a:solidFill>
                  <a:srgbClr val="FFFFFF"/>
                </a:solidFill>
                <a:latin typeface="+mj-lt"/>
              </a:defRPr>
            </a:lvl1pPr>
            <a:lvl2pPr marL="342785" indent="0">
              <a:buNone/>
              <a:defRPr>
                <a:latin typeface="+mj-lt"/>
              </a:defRPr>
            </a:lvl2pPr>
            <a:lvl3pPr marL="571307" indent="0">
              <a:buNone/>
              <a:defRPr>
                <a:latin typeface="+mj-lt"/>
              </a:defRPr>
            </a:lvl3pPr>
            <a:lvl4pPr marL="799831" indent="0">
              <a:buNone/>
              <a:defRPr>
                <a:latin typeface="+mj-lt"/>
              </a:defRPr>
            </a:lvl4pPr>
            <a:lvl5pPr marL="1028353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8035762" y="5003471"/>
            <a:ext cx="2592918" cy="744328"/>
          </a:xfrm>
          <a:solidFill>
            <a:srgbClr val="FEAC0B"/>
          </a:solidFill>
          <a:ln>
            <a:noFill/>
          </a:ln>
        </p:spPr>
        <p:txBody>
          <a:bodyPr rIns="215945" anchor="ctr" anchorCtr="0">
            <a:noAutofit/>
          </a:bodyPr>
          <a:lstStyle>
            <a:lvl1pPr marL="0" indent="0" algn="r">
              <a:buNone/>
              <a:defRPr sz="2900">
                <a:solidFill>
                  <a:srgbClr val="FFFFFF"/>
                </a:solidFill>
              </a:defRPr>
            </a:lvl1pPr>
            <a:lvl2pPr marL="342785" indent="0">
              <a:buNone/>
              <a:defRPr/>
            </a:lvl2pPr>
            <a:lvl3pPr marL="571307" indent="0">
              <a:buNone/>
              <a:defRPr/>
            </a:lvl3pPr>
            <a:lvl4pPr marL="799831" indent="0">
              <a:buNone/>
              <a:defRPr/>
            </a:lvl4pPr>
            <a:lvl5pPr marL="1028353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52631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6" y="0"/>
            <a:ext cx="12434711" cy="69945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008" y="405083"/>
            <a:ext cx="11922630" cy="807768"/>
          </a:xfrm>
        </p:spPr>
        <p:txBody>
          <a:bodyPr/>
          <a:lstStyle>
            <a:lvl1pPr>
              <a:defRPr sz="4400" baseline="0"/>
            </a:lvl1pPr>
          </a:lstStyle>
          <a:p>
            <a:r>
              <a:rPr lang="en-US" dirty="0"/>
              <a:t>Slide for developer code</a:t>
            </a:r>
          </a:p>
        </p:txBody>
      </p:sp>
      <p:pic>
        <p:nvPicPr>
          <p:cNvPr id="16" name="Picture 15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247690"/>
            <a:ext cx="2030314" cy="746837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1408" y="2138398"/>
            <a:ext cx="11347439" cy="3901290"/>
          </a:xfrm>
        </p:spPr>
        <p:txBody>
          <a:bodyPr>
            <a:noAutofit/>
          </a:bodyPr>
          <a:lstStyle>
            <a:lvl1pPr marL="0" indent="0">
              <a:buNone/>
              <a:defRPr sz="6000"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231843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104750_Speaker TemplateART_v01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" t="23835" r="42830" b="15258"/>
          <a:stretch/>
        </p:blipFill>
        <p:spPr>
          <a:xfrm>
            <a:off x="-69712" y="-87570"/>
            <a:ext cx="12506187" cy="71696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2" y="1241426"/>
            <a:ext cx="5486399" cy="2047470"/>
          </a:xfrm>
        </p:spPr>
        <p:txBody>
          <a:bodyPr>
            <a:spAutoFit/>
          </a:bodyPr>
          <a:lstStyle>
            <a:lvl1pPr>
              <a:defRPr sz="67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7" y="3"/>
            <a:ext cx="6216650" cy="6992587"/>
          </a:xfrm>
          <a:blipFill>
            <a:blip r:embed="rId3"/>
            <a:stretch>
              <a:fillRect/>
            </a:stretch>
          </a:blipFill>
        </p:spPr>
        <p:txBody>
          <a:bodyPr tIns="54850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0241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104750_Speaker TemplateART_v01-06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"/>
            <a:ext cx="12436476" cy="70017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1573" y="184896"/>
            <a:ext cx="11922630" cy="102795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42" y="1221158"/>
            <a:ext cx="11887199" cy="1995932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3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1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28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4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683" y="6195863"/>
            <a:ext cx="2284481" cy="84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88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1"/>
            <a:ext cx="11887200" cy="4810578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26046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104750_Speaker TemplateART_v01-0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191" y="-103136"/>
            <a:ext cx="12538862" cy="7188403"/>
          </a:xfrm>
          <a:prstGeom prst="rect">
            <a:avLst/>
          </a:prstGeom>
        </p:spPr>
      </p:pic>
      <p:sp>
        <p:nvSpPr>
          <p:cNvPr id="11" name="Text Box 3"/>
          <p:cNvSpPr txBox="1">
            <a:spLocks noChangeArrowheads="1"/>
          </p:cNvSpPr>
          <p:nvPr userDrawn="1"/>
        </p:nvSpPr>
        <p:spPr bwMode="white">
          <a:xfrm>
            <a:off x="6434261" y="5404476"/>
            <a:ext cx="5404225" cy="132516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248654" tIns="198923" rIns="248654" bIns="198923" numCol="1" anchor="t" anchorCtr="0" compatLnSpc="1">
            <a:prstTxWarp prst="textNoShape">
              <a:avLst/>
            </a:prstTxWarp>
            <a:spAutoFit/>
          </a:bodyPr>
          <a:lstStyle/>
          <a:p>
            <a:pPr algn="r" defTabSz="1267487" eaLnBrk="0" hangingPunct="0"/>
            <a:r>
              <a:rPr lang="en-US" sz="1000" kern="1200" dirty="0">
                <a:solidFill>
                  <a:schemeClr val="bg1"/>
                </a:solidFill>
                <a:cs typeface="Segoe UI" pitchFamily="34" charset="0"/>
              </a:rPr>
              <a:t>© 2015 Microsoft Corporation. All rights reserved.</a:t>
            </a:r>
          </a:p>
          <a:p>
            <a:pPr algn="r" defTabSz="1267589" eaLnBrk="0" hangingPunct="0"/>
            <a:r>
              <a:rPr lang="en-US" sz="1000" kern="1200" dirty="0">
                <a:solidFill>
                  <a:schemeClr val="bg1"/>
                </a:solidFill>
                <a:cs typeface="Segoe UI" pitchFamily="34" charset="0"/>
              </a:rPr>
              <a:t>Microsoft, Windows and other product names are or may be registered trademarks and/or trademarks in the U.S. and/or other countries.</a:t>
            </a:r>
          </a:p>
          <a:p>
            <a:pPr algn="r" defTabSz="1267589" eaLnBrk="0" hangingPunct="0"/>
            <a:r>
              <a:rPr lang="en-US" sz="1000" kern="1200" dirty="0">
                <a:solidFill>
                  <a:schemeClr val="bg1"/>
                </a:solidFill>
                <a:cs typeface="Segoe UI" pitchFamily="34" charset="0"/>
              </a:rPr>
              <a:t>MICROSOFT MAKES NO WARRANTIES, EXPRESS, IMPLIED OR STATUTORY, </a:t>
            </a:r>
            <a:br>
              <a:rPr lang="en-US" sz="1000" kern="1200" dirty="0">
                <a:solidFill>
                  <a:schemeClr val="bg1"/>
                </a:solidFill>
                <a:cs typeface="Segoe UI" pitchFamily="34" charset="0"/>
              </a:rPr>
            </a:br>
            <a:r>
              <a:rPr lang="en-US" sz="1000" kern="1200" dirty="0">
                <a:solidFill>
                  <a:schemeClr val="bg1"/>
                </a:solidFill>
                <a:cs typeface="Segoe UI" pitchFamily="34" charset="0"/>
              </a:rPr>
              <a:t>AS TO THE INFORMATION IN THIS PRESENTATION.</a:t>
            </a:r>
          </a:p>
          <a:p>
            <a:pPr algn="r" defTabSz="1267487" eaLnBrk="0" hangingPunct="0"/>
            <a:r>
              <a:rPr lang="en-US" sz="1000" kern="1200" dirty="0">
                <a:gradFill>
                  <a:gsLst>
                    <a:gs pos="12389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</a:t>
            </a:r>
          </a:p>
        </p:txBody>
      </p:sp>
      <p:pic>
        <p:nvPicPr>
          <p:cNvPr id="8" name="Picture 7" descr="MSFT_logo_rgb_C-W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793407"/>
            <a:ext cx="6199628" cy="2280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69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4511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83B0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7200" cy="482509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4804692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83B0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83B0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4804693"/>
          </a:xfrm>
        </p:spPr>
        <p:txBody>
          <a:bodyPr wrap="square">
            <a:no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4804693"/>
          </a:xfrm>
        </p:spPr>
        <p:txBody>
          <a:bodyPr wrap="square">
            <a:no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59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83B0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4804693"/>
          </a:xfrm>
        </p:spPr>
        <p:txBody>
          <a:bodyPr wrap="square">
            <a:no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4804693"/>
          </a:xfrm>
        </p:spPr>
        <p:txBody>
          <a:bodyPr wrap="square">
            <a:no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83B0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4804691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Picture 2" descr="Ignite_logos-01.eps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8425" y="6229494"/>
            <a:ext cx="2388484" cy="79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00" r:id="rId2"/>
    <p:sldLayoutId id="2147484295" r:id="rId3"/>
    <p:sldLayoutId id="2147484349" r:id="rId4"/>
    <p:sldLayoutId id="2147484240" r:id="rId5"/>
    <p:sldLayoutId id="2147484241" r:id="rId6"/>
    <p:sldLayoutId id="2147484244" r:id="rId7"/>
    <p:sldLayoutId id="2147484245" r:id="rId8"/>
    <p:sldLayoutId id="2147484247" r:id="rId9"/>
    <p:sldLayoutId id="2147484331" r:id="rId10"/>
    <p:sldLayoutId id="2147484348" r:id="rId11"/>
    <p:sldLayoutId id="2147484252" r:id="rId12"/>
    <p:sldLayoutId id="2147484344" r:id="rId13"/>
    <p:sldLayoutId id="2147484345" r:id="rId14"/>
    <p:sldLayoutId id="2147484346" r:id="rId15"/>
    <p:sldLayoutId id="2147484254" r:id="rId16"/>
    <p:sldLayoutId id="2147484347" r:id="rId17"/>
    <p:sldLayoutId id="2147484351" r:id="rId18"/>
    <p:sldLayoutId id="2147484260" r:id="rId19"/>
    <p:sldLayoutId id="2147484343" r:id="rId20"/>
    <p:sldLayoutId id="2147484299" r:id="rId21"/>
    <p:sldLayoutId id="2147484263" r:id="rId22"/>
    <p:sldLayoutId id="2147484258" r:id="rId2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8"/>
            <a:ext cx="11889564" cy="917575"/>
          </a:xfrm>
          <a:prstGeom prst="rect">
            <a:avLst/>
          </a:prstGeom>
        </p:spPr>
        <p:txBody>
          <a:bodyPr vert="horz" wrap="square" lIns="146267" tIns="91418" rIns="146267" bIns="91418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4"/>
            <a:ext cx="11887197" cy="2092881"/>
          </a:xfrm>
          <a:prstGeom prst="rect">
            <a:avLst/>
          </a:prstGeom>
        </p:spPr>
        <p:txBody>
          <a:bodyPr vert="horz" wrap="square" lIns="146267" tIns="91418" rIns="146267" bIns="91418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93899" y="3050512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895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53" r:id="rId1"/>
    <p:sldLayoutId id="2147484354" r:id="rId2"/>
    <p:sldLayoutId id="2147484355" r:id="rId3"/>
    <p:sldLayoutId id="2147484356" r:id="rId4"/>
    <p:sldLayoutId id="2147484357" r:id="rId5"/>
    <p:sldLayoutId id="2147484358" r:id="rId6"/>
    <p:sldLayoutId id="2147484359" r:id="rId7"/>
    <p:sldLayoutId id="2147484360" r:id="rId8"/>
    <p:sldLayoutId id="2147484361" r:id="rId9"/>
    <p:sldLayoutId id="2147484362" r:id="rId10"/>
    <p:sldLayoutId id="2147484363" r:id="rId11"/>
    <p:sldLayoutId id="2147484364" r:id="rId12"/>
    <p:sldLayoutId id="2147484365" r:id="rId13"/>
    <p:sldLayoutId id="2147484366" r:id="rId14"/>
    <p:sldLayoutId id="2147484367" r:id="rId15"/>
    <p:sldLayoutId id="2147484368" r:id="rId16"/>
    <p:sldLayoutId id="2147484369" r:id="rId17"/>
    <p:sldLayoutId id="2147484370" r:id="rId18"/>
  </p:sldLayoutIdLst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  <p:txStyles>
    <p:titleStyle>
      <a:lvl1pPr algn="l" defTabSz="932428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785" marR="0" indent="-342785" algn="l" defTabSz="93242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04" marR="0" indent="-241219" algn="l" defTabSz="93242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831" marR="0" indent="-228522" algn="l" defTabSz="93242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354" marR="0" indent="-228522" algn="l" defTabSz="93242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6877" marR="0" indent="-228522" algn="l" defTabSz="93242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178" indent="-233107" algn="l" defTabSz="93242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394" indent="-233107" algn="l" defTabSz="93242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6608" indent="-233107" algn="l" defTabSz="93242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2824" indent="-233107" algn="l" defTabSz="93242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15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28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644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858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074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286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501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716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github.com/Azure/Microsoft-TDSP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hyperlink" Target="https://xkcd.com/1459/" TargetMode="Externa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xkcd.com/1597/" TargetMode="Externa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hyperlink" Target="http://www.spacetelescope.org/" TargetMode="External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so.org/" TargetMode="External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File:HubbleTuningFork.jpg" TargetMode="External"/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s.technet.microsoft.com/dataplatforminsider/2016/03/10/mapping-the-universe-with-sql-server/" TargetMode="External"/><Relationship Id="rId2" Type="http://schemas.openxmlformats.org/officeDocument/2006/relationships/hyperlink" Target="https://demosgallery.azurewebsites.net/#story/galaxy" TargetMode="Externa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1308.3496" TargetMode="External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2.jp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://cs231n.github.io/convolutional-networks/" TargetMode="External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vdumoulin/conv_arithmetic" TargetMode="External"/><Relationship Id="rId2" Type="http://schemas.openxmlformats.org/officeDocument/2006/relationships/image" Target="../media/image56.gif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hyperlink" Target="http://cs231n.github.io/convolutional-networks/" TargetMode="Externa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zure/Microsoft-TDSP" TargetMode="External"/><Relationship Id="rId7" Type="http://schemas.openxmlformats.org/officeDocument/2006/relationships/hyperlink" Target="https://blogs.technet.microsoft.com/dataplatforminsider/2016/03/10/mapping-the-universe-with-sql-server/" TargetMode="External"/><Relationship Id="rId2" Type="http://schemas.openxmlformats.org/officeDocument/2006/relationships/hyperlink" Target="https://www.microsoft.com/en-au/cloud-platform/r-server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demosgallery.azurewebsites.net/#story/galaxy" TargetMode="External"/><Relationship Id="rId5" Type="http://schemas.openxmlformats.org/officeDocument/2006/relationships/hyperlink" Target="https://www.galaxyzoo.org/" TargetMode="External"/><Relationship Id="rId4" Type="http://schemas.openxmlformats.org/officeDocument/2006/relationships/hyperlink" Target="http://www.sdss.org/" TargetMode="Externa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4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9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Relationship Id="rId5" Type="http://schemas.microsoft.com/office/2007/relationships/hdphoto" Target="../media/hdphoto2.wdp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04941" y="3713286"/>
            <a:ext cx="7382067" cy="2088232"/>
          </a:xfrm>
        </p:spPr>
        <p:txBody>
          <a:bodyPr anchor="b"/>
          <a:lstStyle/>
          <a:p>
            <a:r>
              <a:rPr lang="en-NZ" dirty="0"/>
              <a:t>DA334</a:t>
            </a:r>
          </a:p>
          <a:p>
            <a:r>
              <a:rPr lang="en-NZ" dirty="0"/>
              <a:t>Hong </a:t>
            </a:r>
            <a:r>
              <a:rPr lang="en-NZ" dirty="0" err="1"/>
              <a:t>Ooi</a:t>
            </a:r>
            <a:endParaRPr lang="en-NZ" dirty="0"/>
          </a:p>
          <a:p>
            <a:r>
              <a:rPr lang="en-NZ" dirty="0"/>
              <a:t>Senior Data Scientist, ADS Asia Pacific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8061" y="2638451"/>
            <a:ext cx="9286560" cy="2010939"/>
          </a:xfrm>
        </p:spPr>
        <p:txBody>
          <a:bodyPr/>
          <a:lstStyle/>
          <a:p>
            <a:pPr lvl="0"/>
            <a:r>
              <a:rPr lang="en-US" sz="4800" dirty="0"/>
              <a:t>Galaxy classification: a data science workflow with R Server 9</a:t>
            </a:r>
          </a:p>
        </p:txBody>
      </p:sp>
    </p:spTree>
    <p:extLst>
      <p:ext uri="{BB962C8B-B14F-4D97-AF65-F5344CB8AC3E}">
        <p14:creationId xmlns:p14="http://schemas.microsoft.com/office/powerpoint/2010/main" val="1830089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differentiator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442447" y="1881809"/>
            <a:ext cx="5595620" cy="1791802"/>
            <a:chOff x="442447" y="1881809"/>
            <a:chExt cx="5595620" cy="1791802"/>
          </a:xfrm>
        </p:grpSpPr>
        <p:sp>
          <p:nvSpPr>
            <p:cNvPr id="3" name="Rectangle 2"/>
            <p:cNvSpPr/>
            <p:nvPr/>
          </p:nvSpPr>
          <p:spPr>
            <a:xfrm>
              <a:off x="442447" y="2516454"/>
              <a:ext cx="5595620" cy="115715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91436" indent="-291436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Beat </a:t>
              </a:r>
              <a:r>
                <a:rPr lang="en-US" sz="1600" dirty="0" err="1">
                  <a:solidFill>
                    <a:schemeClr val="bg1"/>
                  </a:solidFill>
                </a:rPr>
                <a:t>xgBoost</a:t>
              </a:r>
              <a:r>
                <a:rPr lang="en-US" sz="1600" dirty="0">
                  <a:solidFill>
                    <a:schemeClr val="bg1"/>
                  </a:solidFill>
                </a:rPr>
                <a:t> and H20 on most real-world data sets in speed and accuracy</a:t>
              </a:r>
            </a:p>
            <a:p>
              <a:pPr marL="291436" indent="-291436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Classification, Regression, Anomaly detection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442447" y="1881809"/>
              <a:ext cx="5595620" cy="63464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3264" b="1" dirty="0">
                  <a:latin typeface="+mj-lt"/>
                </a:rPr>
                <a:t> Fast </a:t>
              </a:r>
              <a:r>
                <a:rPr lang="en-US" sz="3264" b="1">
                  <a:latin typeface="+mj-lt"/>
                </a:rPr>
                <a:t>and accurate</a:t>
              </a:r>
              <a:endParaRPr lang="en-US" sz="918" b="1" dirty="0">
                <a:latin typeface="+mj-l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476617" y="1881809"/>
            <a:ext cx="5597822" cy="1791802"/>
            <a:chOff x="6476617" y="1881809"/>
            <a:chExt cx="5597822" cy="1791802"/>
          </a:xfrm>
        </p:grpSpPr>
        <p:sp>
          <p:nvSpPr>
            <p:cNvPr id="4" name="Rectangle 3"/>
            <p:cNvSpPr/>
            <p:nvPr/>
          </p:nvSpPr>
          <p:spPr>
            <a:xfrm>
              <a:off x="6478819" y="2516454"/>
              <a:ext cx="5595620" cy="115715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91436" indent="-291436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Fast</a:t>
              </a:r>
              <a:r>
                <a:rPr lang="en-US" sz="1600">
                  <a:solidFill>
                    <a:schemeClr val="bg1"/>
                  </a:solidFill>
                </a:rPr>
                <a:t>, easy</a:t>
              </a:r>
              <a:r>
                <a:rPr lang="en-US" sz="1600" dirty="0">
                  <a:solidFill>
                    <a:schemeClr val="bg1"/>
                  </a:solidFill>
                </a:rPr>
                <a:t>, </a:t>
              </a:r>
              <a:r>
                <a:rPr lang="en-US" sz="1600">
                  <a:solidFill>
                    <a:schemeClr val="bg1"/>
                  </a:solidFill>
                </a:rPr>
                <a:t>and scalable</a:t>
              </a:r>
              <a:endParaRPr lang="en-US" sz="1600" dirty="0">
                <a:solidFill>
                  <a:schemeClr val="bg1"/>
                </a:solidFill>
              </a:endParaRPr>
            </a:p>
            <a:p>
              <a:pPr marL="291436" indent="-291436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Uses tech from Bing, Office, and TLC</a:t>
              </a:r>
            </a:p>
            <a:p>
              <a:pPr marL="291436" indent="-291436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Sentiment analysis, Support ticket classification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6476617" y="1881809"/>
              <a:ext cx="5595620" cy="634647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3264" b="1" dirty="0">
                  <a:latin typeface="+mj-lt"/>
                </a:rPr>
                <a:t> </a:t>
              </a:r>
              <a:r>
                <a:rPr lang="en-US" sz="3264" b="1">
                  <a:latin typeface="+mj-lt"/>
                </a:rPr>
                <a:t>Text classification</a:t>
              </a:r>
              <a:endParaRPr lang="en-US" sz="3264" b="1" dirty="0">
                <a:latin typeface="+mj-lt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37486" y="4411655"/>
            <a:ext cx="5595620" cy="1866354"/>
            <a:chOff x="437486" y="4411655"/>
            <a:chExt cx="5595620" cy="1866354"/>
          </a:xfrm>
        </p:grpSpPr>
        <p:sp>
          <p:nvSpPr>
            <p:cNvPr id="5" name="Rectangle 4"/>
            <p:cNvSpPr/>
            <p:nvPr/>
          </p:nvSpPr>
          <p:spPr>
            <a:xfrm>
              <a:off x="437486" y="5104339"/>
              <a:ext cx="5595620" cy="117367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91436" indent="-291436">
                <a:buFont typeface="Arial" panose="020B0604020202020204" pitchFamily="34" charset="0"/>
                <a:buChar char="•"/>
              </a:pPr>
              <a:r>
                <a:rPr lang="en-US" sz="1600" dirty="0"/>
                <a:t>DNNs with custom topology and GPU acceleration</a:t>
              </a:r>
            </a:p>
            <a:p>
              <a:pPr marL="291436" indent="-291436">
                <a:buFont typeface="Arial" panose="020B0604020202020204" pitchFamily="34" charset="0"/>
                <a:buChar char="•"/>
              </a:pPr>
              <a:r>
                <a:rPr lang="en-US" sz="1600" dirty="0"/>
                <a:t>Retail image matching, Medical image classification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437486" y="4411655"/>
              <a:ext cx="5595620" cy="69268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3264" b="1" dirty="0">
                  <a:latin typeface="+mj-lt"/>
                </a:rPr>
                <a:t> DNNs with </a:t>
              </a:r>
              <a:r>
                <a:rPr lang="en-US" sz="3264" b="1">
                  <a:latin typeface="+mj-lt"/>
                </a:rPr>
                <a:t>GPU acceleration</a:t>
              </a:r>
              <a:endParaRPr lang="en-US" sz="3264" b="1" dirty="0">
                <a:latin typeface="+mj-lt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476617" y="4411655"/>
            <a:ext cx="5595620" cy="1866354"/>
            <a:chOff x="6476617" y="4411655"/>
            <a:chExt cx="5595620" cy="1866354"/>
          </a:xfrm>
        </p:grpSpPr>
        <p:sp>
          <p:nvSpPr>
            <p:cNvPr id="9" name="Rectangle 8"/>
            <p:cNvSpPr/>
            <p:nvPr/>
          </p:nvSpPr>
          <p:spPr>
            <a:xfrm>
              <a:off x="6476617" y="5104339"/>
              <a:ext cx="5595620" cy="117367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91436" indent="-291436">
                <a:buFont typeface="Arial" panose="020B0604020202020204" pitchFamily="34" charset="0"/>
                <a:buChar char="•"/>
              </a:pPr>
              <a:r>
                <a:rPr lang="en-US" sz="1600" dirty="0"/>
                <a:t>Handle </a:t>
              </a:r>
              <a:r>
                <a:rPr lang="en-US" sz="1600" b="1" dirty="0"/>
                <a:t>b</a:t>
              </a:r>
              <a:r>
                <a:rPr lang="en-US" sz="1600" dirty="0"/>
                <a:t>illion features</a:t>
              </a:r>
            </a:p>
            <a:p>
              <a:pPr marL="291436" indent="-291436">
                <a:buFont typeface="Arial" panose="020B0604020202020204" pitchFamily="34" charset="0"/>
                <a:buChar char="•"/>
              </a:pPr>
              <a:r>
                <a:rPr lang="en-US" sz="1600" dirty="0"/>
                <a:t>Text, Click-through prediction, problems with many </a:t>
              </a:r>
              <a:r>
                <a:rPr lang="en-US" sz="1600" dirty="0" err="1"/>
                <a:t>userIDs</a:t>
              </a:r>
              <a:r>
                <a:rPr lang="en-US" sz="1600" dirty="0"/>
                <a:t>, </a:t>
              </a:r>
              <a:r>
                <a:rPr lang="en-US" sz="1600" dirty="0" err="1"/>
                <a:t>productIDs</a:t>
              </a:r>
              <a:r>
                <a:rPr lang="en-US" sz="1600" dirty="0"/>
                <a:t>, etc.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476617" y="4411655"/>
              <a:ext cx="5595620" cy="69268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2856" b="1">
                  <a:latin typeface="+mj-lt"/>
                </a:rPr>
                <a:t>High-dimensional data</a:t>
              </a:r>
              <a:endParaRPr lang="en-US" sz="2856" b="1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85428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0195776"/>
              </p:ext>
            </p:extLst>
          </p:nvPr>
        </p:nvGraphicFramePr>
        <p:xfrm>
          <a:off x="1700327" y="1337022"/>
          <a:ext cx="9035820" cy="50292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912769">
                  <a:extLst>
                    <a:ext uri="{9D8B030D-6E8A-4147-A177-3AD203B41FA5}">
                      <a16:colId xmlns:a16="http://schemas.microsoft.com/office/drawing/2014/main" val="1806573624"/>
                    </a:ext>
                  </a:extLst>
                </a:gridCol>
                <a:gridCol w="6123051">
                  <a:extLst>
                    <a:ext uri="{9D8B030D-6E8A-4147-A177-3AD203B41FA5}">
                      <a16:colId xmlns:a16="http://schemas.microsoft.com/office/drawing/2014/main" val="34674940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400" b="0"/>
                        <a:t>Algorith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0"/>
                        <a:t>Strength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9177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>
                          <a:latin typeface="+mj-lt"/>
                        </a:rPr>
                        <a:t>rxFastLin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>
                          <a:latin typeface="+mj-lt"/>
                        </a:rPr>
                        <a:t>Fast linear regression with L1 and L2 regulariz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58064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>
                          <a:latin typeface="+mj-lt"/>
                        </a:rPr>
                        <a:t>rxLogisticRegr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>
                          <a:latin typeface="+mj-lt"/>
                        </a:rPr>
                        <a:t>Logistic regression with L1 and L2 regulariz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441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>
                          <a:latin typeface="+mj-lt"/>
                        </a:rPr>
                        <a:t>rxFastTr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>
                          <a:latin typeface="+mj-lt"/>
                        </a:rPr>
                        <a:t>Boosted decision tree from Bing, competitive with XGBo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4312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>
                          <a:latin typeface="+mj-lt"/>
                        </a:rPr>
                        <a:t>rxFastFor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>
                          <a:latin typeface="+mj-lt"/>
                        </a:rPr>
                        <a:t>Random fore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6206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>
                          <a:latin typeface="+mj-lt"/>
                        </a:rPr>
                        <a:t>rxNeural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>
                          <a:latin typeface="+mj-lt"/>
                        </a:rPr>
                        <a:t>GPU-accelerated neural nets, complex architectures supported with Net# langu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84706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>
                          <a:latin typeface="+mj-lt"/>
                        </a:rPr>
                        <a:t>rxOneClassSv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>
                          <a:latin typeface="+mj-lt"/>
                        </a:rPr>
                        <a:t>Anomaly detection or unbalanced binary 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4015740"/>
                  </a:ext>
                </a:extLst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itial feature set (more to come)</a:t>
            </a:r>
          </a:p>
        </p:txBody>
      </p:sp>
    </p:spTree>
    <p:extLst>
      <p:ext uri="{BB962C8B-B14F-4D97-AF65-F5344CB8AC3E}">
        <p14:creationId xmlns:p14="http://schemas.microsoft.com/office/powerpoint/2010/main" val="160909855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QL Server R Services</a:t>
            </a:r>
          </a:p>
        </p:txBody>
      </p:sp>
    </p:spTree>
    <p:extLst>
      <p:ext uri="{BB962C8B-B14F-4D97-AF65-F5344CB8AC3E}">
        <p14:creationId xmlns:p14="http://schemas.microsoft.com/office/powerpoint/2010/main" val="34436969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ing SQL Server 2016 R Service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85755" y="1660373"/>
            <a:ext cx="3455673" cy="559947"/>
          </a:xfrm>
          <a:prstGeom prst="rect">
            <a:avLst/>
          </a:prstGeom>
          <a:solidFill>
            <a:schemeClr val="accent3"/>
          </a:solidFill>
        </p:spPr>
        <p:txBody>
          <a:bodyPr wrap="square" lIns="175735" tIns="0" rIns="87843" bIns="0" rtlCol="0" anchor="ctr">
            <a:noAutofit/>
          </a:bodyPr>
          <a:lstStyle/>
          <a:p>
            <a:pPr algn="ctr" defTabSz="89586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 Semilight" panose="020B0402040204020203" pitchFamily="34" charset="0"/>
              </a:rPr>
              <a:t>Simplicity and agilit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075741" y="3935634"/>
            <a:ext cx="2875702" cy="175735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5711" tIns="140568" rIns="175711" bIns="14056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3241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1" b="0" i="0" u="none" strike="noStrike" cap="none" spc="0" normalizeH="0" baseline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algn="ctr" defTabSz="895864">
              <a:lnSpc>
                <a:spcPct val="90000"/>
              </a:lnSpc>
              <a:spcAft>
                <a:spcPts val="1152"/>
              </a:spcAft>
              <a:defRPr/>
            </a:pPr>
            <a:r>
              <a:rPr lang="en-US" sz="1765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terprise speed and performance</a:t>
            </a:r>
          </a:p>
          <a:p>
            <a:pPr marL="0" lvl="1" algn="ctr" defTabSz="895864" fontAlgn="base">
              <a:lnSpc>
                <a:spcPct val="90000"/>
              </a:lnSpc>
              <a:spcBef>
                <a:spcPct val="0"/>
              </a:spcBef>
              <a:spcAft>
                <a:spcPts val="1152"/>
              </a:spcAft>
              <a:defRPr/>
            </a:pPr>
            <a:r>
              <a:rPr lang="en-US" sz="1765" kern="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Near-DB analytics </a:t>
            </a:r>
          </a:p>
          <a:p>
            <a:pPr marL="0" lvl="1" algn="ctr" defTabSz="895864" fontAlgn="base">
              <a:lnSpc>
                <a:spcPct val="90000"/>
              </a:lnSpc>
              <a:spcBef>
                <a:spcPct val="0"/>
              </a:spcBef>
              <a:spcAft>
                <a:spcPts val="1152"/>
              </a:spcAft>
              <a:defRPr/>
            </a:pPr>
            <a:r>
              <a:rPr lang="en-US" sz="1765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allel threading and processing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241427" y="1660374"/>
            <a:ext cx="3434822" cy="559947"/>
          </a:xfrm>
          <a:prstGeom prst="rect">
            <a:avLst/>
          </a:prstGeom>
          <a:solidFill>
            <a:schemeClr val="accent2"/>
          </a:solidFill>
        </p:spPr>
        <p:txBody>
          <a:bodyPr wrap="square" lIns="175735" tIns="0" rIns="87843" bIns="0" rtlCol="0" anchor="ctr">
            <a:noAutofit/>
          </a:bodyPr>
          <a:lstStyle>
            <a:defPPr>
              <a:defRPr lang="en-US"/>
            </a:defPPr>
            <a:lvl1pPr defTabSz="93241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 Semilight" panose="020B0402040204020203" pitchFamily="34" charset="0"/>
              </a:defRPr>
            </a:lvl1pPr>
          </a:lstStyle>
          <a:p>
            <a:pPr algn="ctr" defTabSz="895864"/>
            <a:r>
              <a:rPr lang="en-US" sz="2353" kern="0" dirty="0">
                <a:latin typeface="+mj-lt"/>
              </a:rPr>
              <a:t>Scalability and choic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12179" y="3935635"/>
            <a:ext cx="2796462" cy="225267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5711" tIns="140568" rIns="175711" bIns="14056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28600" marR="0" lvl="0" indent="-228600" defTabSz="932411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2000" b="0" i="0" u="none" strike="noStrike" cap="none" spc="0" normalizeH="0" baseline="0">
                <a:ln>
                  <a:noFill/>
                </a:ln>
                <a:gradFill>
                  <a:gsLst>
                    <a:gs pos="13158">
                      <a:schemeClr val="tx1"/>
                    </a:gs>
                    <a:gs pos="2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 Semilight" panose="020B0402040204020203" pitchFamily="34" charset="0"/>
              </a:defRPr>
            </a:lvl1pPr>
          </a:lstStyle>
          <a:p>
            <a:pPr marL="0" lvl="1" algn="ctr" defTabSz="895864">
              <a:lnSpc>
                <a:spcPct val="90000"/>
              </a:lnSpc>
              <a:spcAft>
                <a:spcPts val="1152"/>
              </a:spcAft>
              <a:defRPr/>
            </a:pPr>
            <a:r>
              <a:rPr lang="en-US" sz="1765" kern="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Model on-premises, store in cloud—or vice versa</a:t>
            </a:r>
          </a:p>
          <a:p>
            <a:pPr marL="0" lvl="1" algn="ctr" defTabSz="895864">
              <a:lnSpc>
                <a:spcPct val="90000"/>
              </a:lnSpc>
              <a:spcAft>
                <a:spcPts val="1152"/>
              </a:spcAft>
              <a:defRPr/>
            </a:pPr>
            <a:r>
              <a:rPr lang="en-US" sz="1765" kern="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Hybrid memory and disk scalability</a:t>
            </a:r>
          </a:p>
          <a:p>
            <a:pPr marL="0" lvl="1" algn="ctr" defTabSz="895864" fontAlgn="base">
              <a:lnSpc>
                <a:spcPct val="90000"/>
              </a:lnSpc>
              <a:spcBef>
                <a:spcPct val="0"/>
              </a:spcBef>
              <a:spcAft>
                <a:spcPts val="1152"/>
              </a:spcAft>
              <a:defRPr/>
            </a:pPr>
            <a:r>
              <a:rPr lang="en-US" sz="1765" kern="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Not bound by memory-enabling limits of larger datase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76249" y="1660373"/>
            <a:ext cx="3409131" cy="559947"/>
          </a:xfrm>
          <a:prstGeom prst="rect">
            <a:avLst/>
          </a:prstGeom>
          <a:solidFill>
            <a:schemeClr val="accent4"/>
          </a:solidFill>
        </p:spPr>
        <p:txBody>
          <a:bodyPr wrap="square" lIns="175735" tIns="0" rIns="87843" bIns="0" rtlCol="0" anchor="ctr">
            <a:noAutofit/>
          </a:bodyPr>
          <a:lstStyle>
            <a:defPPr>
              <a:defRPr lang="en-US"/>
            </a:defPPr>
            <a:lvl1pPr defTabSz="93241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 Semilight" panose="020B0402040204020203" pitchFamily="34" charset="0"/>
              </a:defRPr>
            </a:lvl1pPr>
          </a:lstStyle>
          <a:p>
            <a:pPr algn="ctr" defTabSz="895864"/>
            <a:r>
              <a:rPr lang="en-US" sz="2353" kern="0" dirty="0">
                <a:latin typeface="+mj-lt"/>
              </a:rPr>
              <a:t>Cost effectivenes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869378" y="3935634"/>
            <a:ext cx="3022871" cy="236994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5711" tIns="140568" rIns="175711" bIns="14056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28600" marR="0" lvl="0" indent="-228600" defTabSz="932411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2000" b="0" i="0" u="none" strike="noStrike" cap="none" spc="0" normalizeH="0" baseline="0">
                <a:ln>
                  <a:noFill/>
                </a:ln>
                <a:gradFill>
                  <a:gsLst>
                    <a:gs pos="13158">
                      <a:schemeClr val="tx1"/>
                    </a:gs>
                    <a:gs pos="2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 Semilight" panose="020B0402040204020203" pitchFamily="34" charset="0"/>
              </a:defRPr>
            </a:lvl1pPr>
          </a:lstStyle>
          <a:p>
            <a:pPr marL="0" lvl="1" algn="ctr" defTabSz="895864" fontAlgn="base">
              <a:lnSpc>
                <a:spcPct val="90000"/>
              </a:lnSpc>
              <a:spcBef>
                <a:spcPct val="0"/>
              </a:spcBef>
              <a:spcAft>
                <a:spcPts val="1152"/>
              </a:spcAft>
              <a:defRPr/>
            </a:pPr>
            <a:r>
              <a:rPr lang="en-US" sz="1765" kern="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Included in SQL Server 2016</a:t>
            </a:r>
          </a:p>
          <a:p>
            <a:pPr marL="0" lvl="1" algn="ctr" defTabSz="895864" fontAlgn="base">
              <a:lnSpc>
                <a:spcPct val="90000"/>
              </a:lnSpc>
              <a:spcBef>
                <a:spcPct val="0"/>
              </a:spcBef>
              <a:spcAft>
                <a:spcPts val="1152"/>
              </a:spcAft>
              <a:defRPr/>
            </a:pPr>
            <a:r>
              <a:rPr lang="en-US" sz="1765" kern="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Reuse and optimize existing R code</a:t>
            </a:r>
          </a:p>
          <a:p>
            <a:pPr marL="0" lvl="1" algn="ctr" defTabSz="895864" fontAlgn="base">
              <a:lnSpc>
                <a:spcPct val="90000"/>
              </a:lnSpc>
              <a:spcBef>
                <a:spcPct val="0"/>
              </a:spcBef>
              <a:spcAft>
                <a:spcPts val="1152"/>
              </a:spcAft>
              <a:defRPr/>
            </a:pPr>
            <a:r>
              <a:rPr lang="en-US" sz="1765" kern="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liminate data movement across machines</a:t>
            </a:r>
          </a:p>
          <a:p>
            <a:pPr marL="0" lvl="1" algn="ctr" defTabSz="895864" fontAlgn="base">
              <a:lnSpc>
                <a:spcPct val="90000"/>
              </a:lnSpc>
              <a:spcBef>
                <a:spcPct val="0"/>
              </a:spcBef>
              <a:spcAft>
                <a:spcPts val="1152"/>
              </a:spcAft>
              <a:defRPr/>
            </a:pPr>
            <a:r>
              <a:rPr lang="en-US" sz="1765" kern="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Write once, deploy anywhere</a:t>
            </a:r>
          </a:p>
          <a:p>
            <a:pPr marL="0" lvl="1" algn="ctr" defTabSz="895864" fontAlgn="base">
              <a:lnSpc>
                <a:spcPct val="90000"/>
              </a:lnSpc>
              <a:spcBef>
                <a:spcPct val="0"/>
              </a:spcBef>
              <a:spcAft>
                <a:spcPts val="1152"/>
              </a:spcAft>
              <a:defRPr/>
            </a:pPr>
            <a:endParaRPr lang="en-US" sz="1568" kern="0" dirty="0">
              <a:solidFill>
                <a:schemeClr val="tx1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6571" y="2475691"/>
            <a:ext cx="1494041" cy="12045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992379" y="2354301"/>
            <a:ext cx="1932916" cy="144735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6529" y="2432026"/>
            <a:ext cx="979216" cy="124823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196062" y="3023753"/>
            <a:ext cx="360149" cy="52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8709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5" grpId="0" animBg="1"/>
      <p:bldP spid="6" grpId="0"/>
      <p:bldP spid="7" grpId="0" animBg="1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QL Server Enterprise Edition R Servic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01613" y="1242893"/>
            <a:ext cx="10350580" cy="458636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89642" tIns="89642" rIns="179285" bIns="143428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solidFill>
                  <a:schemeClr val="bg1"/>
                </a:solidFill>
              </a:rPr>
              <a:t>SQL Server 2016 Enterprise Edi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789307" y="1858005"/>
            <a:ext cx="8475592" cy="4252684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89642" tIns="89642" rIns="179285" bIns="143428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solidFill>
                  <a:schemeClr val="bg2"/>
                </a:solidFill>
              </a:rPr>
              <a:t>SQL Server R Servic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943946" y="2325610"/>
            <a:ext cx="2660968" cy="406120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89642" tIns="179285" rIns="179285" bIns="143428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765" dirty="0"/>
              <a:t>Integration Facilities:</a:t>
            </a:r>
          </a:p>
          <a:p>
            <a:pPr algn="ctr">
              <a:lnSpc>
                <a:spcPct val="90000"/>
              </a:lnSpc>
            </a:pPr>
            <a:endParaRPr lang="en-US" sz="1568" dirty="0"/>
          </a:p>
          <a:p>
            <a:pPr marL="280121" indent="-28012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568" dirty="0"/>
              <a:t>Component Integration</a:t>
            </a:r>
          </a:p>
          <a:p>
            <a:pPr marL="737304" lvl="1" indent="-28012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568" dirty="0"/>
              <a:t>Launchers</a:t>
            </a:r>
          </a:p>
          <a:p>
            <a:pPr marL="737304" lvl="1" indent="-28012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568" dirty="0"/>
              <a:t>Parameter Passing</a:t>
            </a:r>
          </a:p>
          <a:p>
            <a:pPr marL="737304" lvl="1" indent="-28012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568" dirty="0"/>
              <a:t>Results Return</a:t>
            </a:r>
          </a:p>
          <a:p>
            <a:pPr marL="737304" lvl="1" indent="-28012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568" dirty="0"/>
              <a:t>Console Output Return</a:t>
            </a:r>
          </a:p>
          <a:p>
            <a:pPr marL="280121" indent="-28012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568" dirty="0"/>
              <a:t>Parallel Data Exchange (RTM)</a:t>
            </a:r>
          </a:p>
          <a:p>
            <a:pPr marL="280121" indent="-28012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568" dirty="0"/>
              <a:t>Stored Procedures</a:t>
            </a:r>
          </a:p>
          <a:p>
            <a:pPr marL="280121" indent="-28012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568" dirty="0"/>
              <a:t>Package Administration</a:t>
            </a:r>
          </a:p>
        </p:txBody>
      </p:sp>
      <p:sp>
        <p:nvSpPr>
          <p:cNvPr id="8" name="Can 39"/>
          <p:cNvSpPr/>
          <p:nvPr/>
        </p:nvSpPr>
        <p:spPr>
          <a:xfrm>
            <a:off x="811368" y="3360147"/>
            <a:ext cx="1794825" cy="1812423"/>
          </a:xfrm>
          <a:prstGeom prst="can">
            <a:avLst/>
          </a:prstGeom>
          <a:solidFill>
            <a:schemeClr val="tx1">
              <a:lumMod val="75000"/>
            </a:schemeClr>
          </a:solidFill>
          <a:ln>
            <a:solidFill>
              <a:srgbClr val="005AA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tIns="89642" rtlCol="0" anchor="t" anchorCtr="0"/>
          <a:lstStyle/>
          <a:p>
            <a:pPr algn="ctr"/>
            <a:r>
              <a:rPr lang="en-US" sz="2353" b="1" dirty="0">
                <a:solidFill>
                  <a:schemeClr val="bg2"/>
                </a:solidFill>
                <a:latin typeface="+mj-lt"/>
              </a:rPr>
              <a:t>SQL Server</a:t>
            </a:r>
          </a:p>
          <a:p>
            <a:pPr algn="ctr"/>
            <a:r>
              <a:rPr lang="en-US" sz="2353" b="1" dirty="0">
                <a:solidFill>
                  <a:schemeClr val="bg2"/>
                </a:solidFill>
                <a:latin typeface="+mj-lt"/>
              </a:rPr>
              <a:t>Query Processor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510640" y="4113806"/>
            <a:ext cx="788851" cy="23965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813654" y="4047237"/>
            <a:ext cx="5691867" cy="2339575"/>
            <a:chOff x="6189470" y="3840418"/>
            <a:chExt cx="5277315" cy="2386488"/>
          </a:xfrm>
          <a:solidFill>
            <a:srgbClr val="005AA1"/>
          </a:solidFill>
        </p:grpSpPr>
        <p:sp>
          <p:nvSpPr>
            <p:cNvPr id="11" name="TextBox 10"/>
            <p:cNvSpPr txBox="1"/>
            <p:nvPr/>
          </p:nvSpPr>
          <p:spPr>
            <a:xfrm>
              <a:off x="6189470" y="3840418"/>
              <a:ext cx="5277315" cy="238648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89642" tIns="89642" rIns="179285" bIns="143428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961" dirty="0"/>
                <a:t>Algorithm Library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6626590" y="4838353"/>
              <a:ext cx="4617098" cy="1231106"/>
              <a:chOff x="603728" y="4934345"/>
              <a:chExt cx="4617098" cy="1231106"/>
            </a:xfrm>
            <a:grpFill/>
          </p:grpSpPr>
          <p:sp>
            <p:nvSpPr>
              <p:cNvPr id="14" name="TextBox 13"/>
              <p:cNvSpPr txBox="1"/>
              <p:nvPr/>
            </p:nvSpPr>
            <p:spPr>
              <a:xfrm>
                <a:off x="603728" y="4934345"/>
                <a:ext cx="2236294" cy="123110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pPr marL="280121" indent="-280121">
                  <a:buFont typeface="Arial" panose="020B0604020202020204" pitchFamily="34" charset="0"/>
                  <a:buChar char="•"/>
                </a:pPr>
                <a:r>
                  <a:rPr lang="en-US" sz="1568" dirty="0"/>
                  <a:t>Data Prep</a:t>
                </a:r>
              </a:p>
              <a:p>
                <a:pPr marL="280121" indent="-280121">
                  <a:buFont typeface="Arial" panose="020B0604020202020204" pitchFamily="34" charset="0"/>
                  <a:buChar char="•"/>
                </a:pPr>
                <a:r>
                  <a:rPr lang="en-US" sz="1568" dirty="0"/>
                  <a:t>Descriptive Stats</a:t>
                </a:r>
              </a:p>
              <a:p>
                <a:pPr marL="280121" indent="-280121">
                  <a:buFont typeface="Arial" panose="020B0604020202020204" pitchFamily="34" charset="0"/>
                  <a:buChar char="•"/>
                </a:pPr>
                <a:r>
                  <a:rPr lang="en-US" sz="1568" dirty="0"/>
                  <a:t>Sampling</a:t>
                </a:r>
              </a:p>
              <a:p>
                <a:pPr marL="280121" indent="-280121">
                  <a:buFont typeface="Arial" panose="020B0604020202020204" pitchFamily="34" charset="0"/>
                  <a:buChar char="•"/>
                </a:pPr>
                <a:r>
                  <a:rPr lang="en-US" sz="1568" dirty="0"/>
                  <a:t>Statistical Tests</a:t>
                </a:r>
              </a:p>
              <a:p>
                <a:pPr marL="280121" indent="-280121">
                  <a:buFont typeface="Arial" panose="020B0604020202020204" pitchFamily="34" charset="0"/>
                  <a:buChar char="•"/>
                </a:pPr>
                <a:r>
                  <a:rPr lang="en-US" sz="1568" dirty="0"/>
                  <a:t>Predictive Models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2659800" y="4934345"/>
                <a:ext cx="2561026" cy="123110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pPr marL="280121" indent="-280121">
                  <a:buFont typeface="Arial" panose="020B0604020202020204" pitchFamily="34" charset="0"/>
                  <a:buChar char="•"/>
                </a:pPr>
                <a:r>
                  <a:rPr lang="en-US" sz="1568" dirty="0"/>
                  <a:t>Variable Selection</a:t>
                </a:r>
              </a:p>
              <a:p>
                <a:pPr marL="280121" indent="-280121">
                  <a:buFont typeface="Arial" panose="020B0604020202020204" pitchFamily="34" charset="0"/>
                  <a:buChar char="•"/>
                </a:pPr>
                <a:r>
                  <a:rPr lang="en-US" sz="1568" dirty="0"/>
                  <a:t>Clustering</a:t>
                </a:r>
              </a:p>
              <a:p>
                <a:pPr marL="280121" indent="-280121">
                  <a:buFont typeface="Arial" panose="020B0604020202020204" pitchFamily="34" charset="0"/>
                  <a:buChar char="•"/>
                </a:pPr>
                <a:r>
                  <a:rPr lang="en-US" sz="1568" dirty="0"/>
                  <a:t>Classification</a:t>
                </a:r>
              </a:p>
              <a:p>
                <a:pPr marL="280121" indent="-280121">
                  <a:buFont typeface="Arial" panose="020B0604020202020204" pitchFamily="34" charset="0"/>
                  <a:buChar char="•"/>
                </a:pPr>
                <a:r>
                  <a:rPr lang="en-US" sz="1568" dirty="0"/>
                  <a:t>Custom APIs for R + CRAN</a:t>
                </a:r>
              </a:p>
              <a:p>
                <a:pPr marL="280121" indent="-280121">
                  <a:buFont typeface="Arial" panose="020B0604020202020204" pitchFamily="34" charset="0"/>
                  <a:buChar char="•"/>
                </a:pPr>
                <a:r>
                  <a:rPr lang="en-US" sz="1568" dirty="0"/>
                  <a:t>Parallel Scoring</a:t>
                </a:r>
              </a:p>
            </p:txBody>
          </p:sp>
        </p:grpSp>
        <p:sp>
          <p:nvSpPr>
            <p:cNvPr id="13" name="TextBox 12"/>
            <p:cNvSpPr txBox="1"/>
            <p:nvPr/>
          </p:nvSpPr>
          <p:spPr>
            <a:xfrm>
              <a:off x="6189471" y="4282413"/>
              <a:ext cx="5277314" cy="54476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179285" tIns="143428" rIns="179285" bIns="143428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r>
                <a:rPr lang="en-US" sz="1765" dirty="0"/>
                <a:t>Fast, Parallel, Storage Efficient Algorithms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808649" y="2325610"/>
            <a:ext cx="5696873" cy="1539316"/>
            <a:chOff x="6189470" y="2084898"/>
            <a:chExt cx="5277316" cy="1570183"/>
          </a:xfrm>
          <a:solidFill>
            <a:srgbClr val="005AA1"/>
          </a:solidFill>
        </p:grpSpPr>
        <p:grpSp>
          <p:nvGrpSpPr>
            <p:cNvPr id="17" name="Group 16"/>
            <p:cNvGrpSpPr/>
            <p:nvPr/>
          </p:nvGrpSpPr>
          <p:grpSpPr>
            <a:xfrm>
              <a:off x="6189470" y="2084898"/>
              <a:ext cx="5277316" cy="1570183"/>
              <a:chOff x="5590291" y="1391213"/>
              <a:chExt cx="5277316" cy="1570183"/>
            </a:xfrm>
            <a:grpFill/>
          </p:grpSpPr>
          <p:sp>
            <p:nvSpPr>
              <p:cNvPr id="19" name="TextBox 18"/>
              <p:cNvSpPr txBox="1"/>
              <p:nvPr/>
            </p:nvSpPr>
            <p:spPr>
              <a:xfrm>
                <a:off x="5590291" y="1391213"/>
                <a:ext cx="5277316" cy="1570183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none" lIns="89642" tIns="89642" rIns="179285" bIns="143428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961" dirty="0"/>
                  <a:t>Microsoft R Open</a:t>
                </a: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8251046" y="1961152"/>
                <a:ext cx="2582390" cy="66479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 lIns="179285" tIns="0" rIns="179285" bIns="0" rtlCol="0">
                <a:spAutoFit/>
              </a:bodyPr>
              <a:lstStyle/>
              <a:p>
                <a:pPr marL="336145" indent="-336145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r>
                  <a:rPr lang="en-US" sz="1568" dirty="0"/>
                  <a:t>100% Open Source R</a:t>
                </a:r>
              </a:p>
              <a:p>
                <a:pPr marL="336145" indent="-336145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r>
                  <a:rPr lang="en-US" sz="1568" dirty="0"/>
                  <a:t>Fully CRAN Compatible</a:t>
                </a:r>
              </a:p>
              <a:p>
                <a:pPr marL="336145" indent="-336145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r>
                  <a:rPr lang="en-US" sz="1568" dirty="0"/>
                  <a:t>Accelerated Math</a:t>
                </a:r>
              </a:p>
            </p:txBody>
          </p:sp>
        </p:grpSp>
        <p:sp>
          <p:nvSpPr>
            <p:cNvPr id="18" name="TextBox 17"/>
            <p:cNvSpPr txBox="1"/>
            <p:nvPr/>
          </p:nvSpPr>
          <p:spPr>
            <a:xfrm>
              <a:off x="7369351" y="2613029"/>
              <a:ext cx="1534211" cy="79412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179285" tIns="143428" rIns="179285" bIns="143428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r>
                <a:rPr lang="en-US" sz="1765" dirty="0"/>
                <a:t>Open Source R Interpreter</a:t>
              </a:r>
            </a:p>
          </p:txBody>
        </p:sp>
      </p:grpSp>
      <p:sp>
        <p:nvSpPr>
          <p:cNvPr id="22" name="Left-Right Arrow 4"/>
          <p:cNvSpPr/>
          <p:nvPr/>
        </p:nvSpPr>
        <p:spPr bwMode="auto">
          <a:xfrm>
            <a:off x="5375596" y="3006383"/>
            <a:ext cx="679087" cy="355169"/>
          </a:xfrm>
          <a:prstGeom prst="left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Left-Right Arrow 22"/>
          <p:cNvSpPr/>
          <p:nvPr/>
        </p:nvSpPr>
        <p:spPr bwMode="auto">
          <a:xfrm>
            <a:off x="5387509" y="5172571"/>
            <a:ext cx="679087" cy="355169"/>
          </a:xfrm>
          <a:prstGeom prst="left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" name="Left-Right Arrow 23"/>
          <p:cNvSpPr/>
          <p:nvPr/>
        </p:nvSpPr>
        <p:spPr bwMode="auto">
          <a:xfrm rot="5400000">
            <a:off x="7817371" y="3703726"/>
            <a:ext cx="533756" cy="355169"/>
          </a:xfrm>
          <a:prstGeom prst="left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Left-Right Arrow 24"/>
          <p:cNvSpPr/>
          <p:nvPr/>
        </p:nvSpPr>
        <p:spPr bwMode="auto">
          <a:xfrm>
            <a:off x="2548685" y="4175871"/>
            <a:ext cx="648391" cy="355169"/>
          </a:xfrm>
          <a:prstGeom prst="left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6" name="Picture 2" descr="https://www.r-project.org/logo/R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006" y="2850592"/>
            <a:ext cx="762000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956857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alable in-database analytic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408637" y="1189494"/>
            <a:ext cx="7101235" cy="4926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lnSpc>
                <a:spcPct val="90000"/>
              </a:lnSpc>
            </a:pPr>
            <a:endParaRPr lang="en-US" sz="24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35456" y="2053114"/>
            <a:ext cx="2278752" cy="1920896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>
              <a:defRPr/>
            </a:pPr>
            <a:endParaRPr lang="en-US" sz="1200" kern="0" dirty="0" err="1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11664" y="3444765"/>
            <a:ext cx="2244409" cy="2460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3698"/>
            <a:r>
              <a:rPr lang="en-US" sz="1400" kern="0" dirty="0">
                <a:solidFill>
                  <a:schemeClr val="accent1"/>
                </a:solidFill>
                <a:latin typeface="+mj-lt"/>
                <a:cs typeface="Segoe UI Semibold" panose="020B0702040204020203" pitchFamily="34" charset="0"/>
              </a:rPr>
              <a:t>Data Scientis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4175" y="3724275"/>
            <a:ext cx="2284702" cy="4569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3698"/>
            <a:r>
              <a:rPr lang="en-US" sz="1200" kern="0" dirty="0">
                <a:solidFill>
                  <a:sysClr val="windowText" lastClr="000000"/>
                </a:solidFill>
                <a:latin typeface="+mj-lt"/>
                <a:cs typeface="Segoe UI" panose="020B0502040204020203" pitchFamily="34" charset="0"/>
              </a:rPr>
              <a:t>Interacts directly with data</a:t>
            </a:r>
          </a:p>
          <a:p>
            <a:pPr algn="ctr" defTabSz="913698"/>
            <a:r>
              <a:rPr lang="en-US" sz="1200" kern="0" dirty="0">
                <a:solidFill>
                  <a:sysClr val="windowText" lastClr="000000"/>
                </a:solidFill>
                <a:latin typeface="+mj-lt"/>
                <a:cs typeface="Segoe UI" panose="020B0502040204020203" pitchFamily="34" charset="0"/>
              </a:rPr>
              <a:t>Creates models </a:t>
            </a:r>
            <a:br>
              <a:rPr lang="en-US" sz="1200" kern="0" dirty="0">
                <a:solidFill>
                  <a:sysClr val="windowText" lastClr="000000"/>
                </a:solidFill>
                <a:latin typeface="+mj-lt"/>
                <a:cs typeface="Segoe UI" panose="020B0502040204020203" pitchFamily="34" charset="0"/>
              </a:rPr>
            </a:br>
            <a:r>
              <a:rPr lang="en-US" sz="1200" kern="0" dirty="0">
                <a:solidFill>
                  <a:sysClr val="windowText" lastClr="000000"/>
                </a:solidFill>
                <a:latin typeface="+mj-lt"/>
                <a:cs typeface="Segoe UI" panose="020B0502040204020203" pitchFamily="34" charset="0"/>
              </a:rPr>
              <a:t>and experiments</a:t>
            </a:r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1127447" y="2736704"/>
            <a:ext cx="630186" cy="583152"/>
            <a:chOff x="5809310" y="1674658"/>
            <a:chExt cx="4585732" cy="4226967"/>
          </a:xfrm>
          <a:solidFill>
            <a:schemeClr val="accent2"/>
          </a:solidFill>
        </p:grpSpPr>
        <p:sp>
          <p:nvSpPr>
            <p:cNvPr id="9" name="Oval 8"/>
            <p:cNvSpPr/>
            <p:nvPr/>
          </p:nvSpPr>
          <p:spPr>
            <a:xfrm>
              <a:off x="6881217" y="1674658"/>
              <a:ext cx="2210082" cy="2210082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698">
                <a:defRPr/>
              </a:pPr>
              <a:endParaRPr lang="en-IN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0" name="Freeform 17"/>
            <p:cNvSpPr/>
            <p:nvPr/>
          </p:nvSpPr>
          <p:spPr>
            <a:xfrm>
              <a:off x="5809310" y="3984172"/>
              <a:ext cx="3316029" cy="1917453"/>
            </a:xfrm>
            <a:custGeom>
              <a:avLst/>
              <a:gdLst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827176 w 3331029"/>
                <a:gd name="connsiteY13" fmla="*/ 279918 h 1912775"/>
                <a:gd name="connsiteX14" fmla="*/ 2528596 w 3331029"/>
                <a:gd name="connsiteY14" fmla="*/ 1212980 h 1912775"/>
                <a:gd name="connsiteX15" fmla="*/ 2258008 w 3331029"/>
                <a:gd name="connsiteY15" fmla="*/ 1716833 h 1912775"/>
                <a:gd name="connsiteX16" fmla="*/ 2164702 w 3331029"/>
                <a:gd name="connsiteY16" fmla="*/ 1782147 h 1912775"/>
                <a:gd name="connsiteX17" fmla="*/ 1968760 w 3331029"/>
                <a:gd name="connsiteY17" fmla="*/ 1446245 h 1912775"/>
                <a:gd name="connsiteX18" fmla="*/ 1688841 w 3331029"/>
                <a:gd name="connsiteY18" fmla="*/ 886408 h 1912775"/>
                <a:gd name="connsiteX19" fmla="*/ 1558213 w 3331029"/>
                <a:gd name="connsiteY19" fmla="*/ 457200 h 1912775"/>
                <a:gd name="connsiteX20" fmla="*/ 1418253 w 3331029"/>
                <a:gd name="connsiteY20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827176 w 3331029"/>
                <a:gd name="connsiteY13" fmla="*/ 279918 h 1912775"/>
                <a:gd name="connsiteX14" fmla="*/ 2528596 w 3331029"/>
                <a:gd name="connsiteY14" fmla="*/ 1212980 h 1912775"/>
                <a:gd name="connsiteX15" fmla="*/ 2164702 w 3331029"/>
                <a:gd name="connsiteY15" fmla="*/ 1782147 h 1912775"/>
                <a:gd name="connsiteX16" fmla="*/ 1968760 w 3331029"/>
                <a:gd name="connsiteY16" fmla="*/ 1446245 h 1912775"/>
                <a:gd name="connsiteX17" fmla="*/ 1688841 w 3331029"/>
                <a:gd name="connsiteY17" fmla="*/ 886408 h 1912775"/>
                <a:gd name="connsiteX18" fmla="*/ 1558213 w 3331029"/>
                <a:gd name="connsiteY18" fmla="*/ 457200 h 1912775"/>
                <a:gd name="connsiteX19" fmla="*/ 1418253 w 3331029"/>
                <a:gd name="connsiteY19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827176 w 3331029"/>
                <a:gd name="connsiteY13" fmla="*/ 279918 h 1912775"/>
                <a:gd name="connsiteX14" fmla="*/ 2164702 w 3331029"/>
                <a:gd name="connsiteY14" fmla="*/ 1782147 h 1912775"/>
                <a:gd name="connsiteX15" fmla="*/ 1968760 w 3331029"/>
                <a:gd name="connsiteY15" fmla="*/ 1446245 h 1912775"/>
                <a:gd name="connsiteX16" fmla="*/ 1688841 w 3331029"/>
                <a:gd name="connsiteY16" fmla="*/ 886408 h 1912775"/>
                <a:gd name="connsiteX17" fmla="*/ 1558213 w 3331029"/>
                <a:gd name="connsiteY17" fmla="*/ 457200 h 1912775"/>
                <a:gd name="connsiteX18" fmla="*/ 1418253 w 3331029"/>
                <a:gd name="connsiteY18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968760 w 3331029"/>
                <a:gd name="connsiteY14" fmla="*/ 1446245 h 1912775"/>
                <a:gd name="connsiteX15" fmla="*/ 1688841 w 3331029"/>
                <a:gd name="connsiteY15" fmla="*/ 886408 h 1912775"/>
                <a:gd name="connsiteX16" fmla="*/ 1558213 w 3331029"/>
                <a:gd name="connsiteY16" fmla="*/ 457200 h 1912775"/>
                <a:gd name="connsiteX17" fmla="*/ 1418253 w 3331029"/>
                <a:gd name="connsiteY17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968760 w 3331029"/>
                <a:gd name="connsiteY14" fmla="*/ 1446245 h 1912775"/>
                <a:gd name="connsiteX15" fmla="*/ 1688841 w 3331029"/>
                <a:gd name="connsiteY15" fmla="*/ 886408 h 1912775"/>
                <a:gd name="connsiteX16" fmla="*/ 1418253 w 3331029"/>
                <a:gd name="connsiteY16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968760 w 3331029"/>
                <a:gd name="connsiteY14" fmla="*/ 1446245 h 1912775"/>
                <a:gd name="connsiteX15" fmla="*/ 1418253 w 3331029"/>
                <a:gd name="connsiteY15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18253 w 3331029"/>
                <a:gd name="connsiteY0" fmla="*/ 9331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18253 w 3331029"/>
                <a:gd name="connsiteY14" fmla="*/ 9331 h 1912775"/>
                <a:gd name="connsiteX0" fmla="*/ 1436914 w 3331029"/>
                <a:gd name="connsiteY0" fmla="*/ 0 h 1912775"/>
                <a:gd name="connsiteX1" fmla="*/ 475862 w 3331029"/>
                <a:gd name="connsiteY1" fmla="*/ 419877 h 1912775"/>
                <a:gd name="connsiteX2" fmla="*/ 223935 w 3331029"/>
                <a:gd name="connsiteY2" fmla="*/ 699796 h 1912775"/>
                <a:gd name="connsiteX3" fmla="*/ 130629 w 3331029"/>
                <a:gd name="connsiteY3" fmla="*/ 989045 h 1912775"/>
                <a:gd name="connsiteX4" fmla="*/ 0 w 3331029"/>
                <a:gd name="connsiteY4" fmla="*/ 1614196 h 1912775"/>
                <a:gd name="connsiteX5" fmla="*/ 746449 w 3331029"/>
                <a:gd name="connsiteY5" fmla="*/ 1828800 h 1912775"/>
                <a:gd name="connsiteX6" fmla="*/ 1735494 w 3331029"/>
                <a:gd name="connsiteY6" fmla="*/ 1912775 h 1912775"/>
                <a:gd name="connsiteX7" fmla="*/ 2948474 w 3331029"/>
                <a:gd name="connsiteY7" fmla="*/ 1884784 h 1912775"/>
                <a:gd name="connsiteX8" fmla="*/ 2901821 w 3331029"/>
                <a:gd name="connsiteY8" fmla="*/ 1772816 h 1912775"/>
                <a:gd name="connsiteX9" fmla="*/ 3247053 w 3331029"/>
                <a:gd name="connsiteY9" fmla="*/ 783771 h 1912775"/>
                <a:gd name="connsiteX10" fmla="*/ 3331029 w 3331029"/>
                <a:gd name="connsiteY10" fmla="*/ 513184 h 1912775"/>
                <a:gd name="connsiteX11" fmla="*/ 3331029 w 3331029"/>
                <a:gd name="connsiteY11" fmla="*/ 158620 h 1912775"/>
                <a:gd name="connsiteX12" fmla="*/ 2911151 w 3331029"/>
                <a:gd name="connsiteY12" fmla="*/ 0 h 1912775"/>
                <a:gd name="connsiteX13" fmla="*/ 2164702 w 3331029"/>
                <a:gd name="connsiteY13" fmla="*/ 1782147 h 1912775"/>
                <a:gd name="connsiteX14" fmla="*/ 1436914 w 3331029"/>
                <a:gd name="connsiteY14" fmla="*/ 0 h 1912775"/>
                <a:gd name="connsiteX0" fmla="*/ 1436914 w 3331029"/>
                <a:gd name="connsiteY0" fmla="*/ 0 h 1912775"/>
                <a:gd name="connsiteX1" fmla="*/ 223935 w 3331029"/>
                <a:gd name="connsiteY1" fmla="*/ 699796 h 1912775"/>
                <a:gd name="connsiteX2" fmla="*/ 130629 w 3331029"/>
                <a:gd name="connsiteY2" fmla="*/ 989045 h 1912775"/>
                <a:gd name="connsiteX3" fmla="*/ 0 w 3331029"/>
                <a:gd name="connsiteY3" fmla="*/ 1614196 h 1912775"/>
                <a:gd name="connsiteX4" fmla="*/ 746449 w 3331029"/>
                <a:gd name="connsiteY4" fmla="*/ 1828800 h 1912775"/>
                <a:gd name="connsiteX5" fmla="*/ 1735494 w 3331029"/>
                <a:gd name="connsiteY5" fmla="*/ 1912775 h 1912775"/>
                <a:gd name="connsiteX6" fmla="*/ 2948474 w 3331029"/>
                <a:gd name="connsiteY6" fmla="*/ 1884784 h 1912775"/>
                <a:gd name="connsiteX7" fmla="*/ 2901821 w 3331029"/>
                <a:gd name="connsiteY7" fmla="*/ 1772816 h 1912775"/>
                <a:gd name="connsiteX8" fmla="*/ 3247053 w 3331029"/>
                <a:gd name="connsiteY8" fmla="*/ 783771 h 1912775"/>
                <a:gd name="connsiteX9" fmla="*/ 3331029 w 3331029"/>
                <a:gd name="connsiteY9" fmla="*/ 513184 h 1912775"/>
                <a:gd name="connsiteX10" fmla="*/ 3331029 w 3331029"/>
                <a:gd name="connsiteY10" fmla="*/ 158620 h 1912775"/>
                <a:gd name="connsiteX11" fmla="*/ 2911151 w 3331029"/>
                <a:gd name="connsiteY11" fmla="*/ 0 h 1912775"/>
                <a:gd name="connsiteX12" fmla="*/ 2164702 w 3331029"/>
                <a:gd name="connsiteY12" fmla="*/ 1782147 h 1912775"/>
                <a:gd name="connsiteX13" fmla="*/ 1436914 w 3331029"/>
                <a:gd name="connsiteY13" fmla="*/ 0 h 1912775"/>
                <a:gd name="connsiteX0" fmla="*/ 1436914 w 3331029"/>
                <a:gd name="connsiteY0" fmla="*/ 0 h 1912775"/>
                <a:gd name="connsiteX1" fmla="*/ 130629 w 3331029"/>
                <a:gd name="connsiteY1" fmla="*/ 989045 h 1912775"/>
                <a:gd name="connsiteX2" fmla="*/ 0 w 3331029"/>
                <a:gd name="connsiteY2" fmla="*/ 1614196 h 1912775"/>
                <a:gd name="connsiteX3" fmla="*/ 746449 w 3331029"/>
                <a:gd name="connsiteY3" fmla="*/ 1828800 h 1912775"/>
                <a:gd name="connsiteX4" fmla="*/ 1735494 w 3331029"/>
                <a:gd name="connsiteY4" fmla="*/ 1912775 h 1912775"/>
                <a:gd name="connsiteX5" fmla="*/ 2948474 w 3331029"/>
                <a:gd name="connsiteY5" fmla="*/ 1884784 h 1912775"/>
                <a:gd name="connsiteX6" fmla="*/ 2901821 w 3331029"/>
                <a:gd name="connsiteY6" fmla="*/ 1772816 h 1912775"/>
                <a:gd name="connsiteX7" fmla="*/ 3247053 w 3331029"/>
                <a:gd name="connsiteY7" fmla="*/ 783771 h 1912775"/>
                <a:gd name="connsiteX8" fmla="*/ 3331029 w 3331029"/>
                <a:gd name="connsiteY8" fmla="*/ 513184 h 1912775"/>
                <a:gd name="connsiteX9" fmla="*/ 3331029 w 3331029"/>
                <a:gd name="connsiteY9" fmla="*/ 158620 h 1912775"/>
                <a:gd name="connsiteX10" fmla="*/ 2911151 w 3331029"/>
                <a:gd name="connsiteY10" fmla="*/ 0 h 1912775"/>
                <a:gd name="connsiteX11" fmla="*/ 2164702 w 3331029"/>
                <a:gd name="connsiteY11" fmla="*/ 1782147 h 1912775"/>
                <a:gd name="connsiteX12" fmla="*/ 1436914 w 3331029"/>
                <a:gd name="connsiteY12" fmla="*/ 0 h 1912775"/>
                <a:gd name="connsiteX0" fmla="*/ 1436914 w 3331029"/>
                <a:gd name="connsiteY0" fmla="*/ 0 h 1912775"/>
                <a:gd name="connsiteX1" fmla="*/ 0 w 3331029"/>
                <a:gd name="connsiteY1" fmla="*/ 1614196 h 1912775"/>
                <a:gd name="connsiteX2" fmla="*/ 746449 w 3331029"/>
                <a:gd name="connsiteY2" fmla="*/ 1828800 h 1912775"/>
                <a:gd name="connsiteX3" fmla="*/ 1735494 w 3331029"/>
                <a:gd name="connsiteY3" fmla="*/ 1912775 h 1912775"/>
                <a:gd name="connsiteX4" fmla="*/ 2948474 w 3331029"/>
                <a:gd name="connsiteY4" fmla="*/ 1884784 h 1912775"/>
                <a:gd name="connsiteX5" fmla="*/ 2901821 w 3331029"/>
                <a:gd name="connsiteY5" fmla="*/ 1772816 h 1912775"/>
                <a:gd name="connsiteX6" fmla="*/ 3247053 w 3331029"/>
                <a:gd name="connsiteY6" fmla="*/ 783771 h 1912775"/>
                <a:gd name="connsiteX7" fmla="*/ 3331029 w 3331029"/>
                <a:gd name="connsiteY7" fmla="*/ 513184 h 1912775"/>
                <a:gd name="connsiteX8" fmla="*/ 3331029 w 3331029"/>
                <a:gd name="connsiteY8" fmla="*/ 158620 h 1912775"/>
                <a:gd name="connsiteX9" fmla="*/ 2911151 w 3331029"/>
                <a:gd name="connsiteY9" fmla="*/ 0 h 1912775"/>
                <a:gd name="connsiteX10" fmla="*/ 2164702 w 3331029"/>
                <a:gd name="connsiteY10" fmla="*/ 1782147 h 1912775"/>
                <a:gd name="connsiteX11" fmla="*/ 1436914 w 3331029"/>
                <a:gd name="connsiteY11" fmla="*/ 0 h 1912775"/>
                <a:gd name="connsiteX0" fmla="*/ 1436914 w 3331029"/>
                <a:gd name="connsiteY0" fmla="*/ 0 h 1912775"/>
                <a:gd name="connsiteX1" fmla="*/ 0 w 3331029"/>
                <a:gd name="connsiteY1" fmla="*/ 1614196 h 1912775"/>
                <a:gd name="connsiteX2" fmla="*/ 746449 w 3331029"/>
                <a:gd name="connsiteY2" fmla="*/ 1828800 h 1912775"/>
                <a:gd name="connsiteX3" fmla="*/ 1735494 w 3331029"/>
                <a:gd name="connsiteY3" fmla="*/ 1912775 h 1912775"/>
                <a:gd name="connsiteX4" fmla="*/ 2948474 w 3331029"/>
                <a:gd name="connsiteY4" fmla="*/ 1884784 h 1912775"/>
                <a:gd name="connsiteX5" fmla="*/ 2901821 w 3331029"/>
                <a:gd name="connsiteY5" fmla="*/ 1772816 h 1912775"/>
                <a:gd name="connsiteX6" fmla="*/ 3247053 w 3331029"/>
                <a:gd name="connsiteY6" fmla="*/ 783771 h 1912775"/>
                <a:gd name="connsiteX7" fmla="*/ 3331029 w 3331029"/>
                <a:gd name="connsiteY7" fmla="*/ 513184 h 1912775"/>
                <a:gd name="connsiteX8" fmla="*/ 3331029 w 3331029"/>
                <a:gd name="connsiteY8" fmla="*/ 158620 h 1912775"/>
                <a:gd name="connsiteX9" fmla="*/ 2911151 w 3331029"/>
                <a:gd name="connsiteY9" fmla="*/ 0 h 1912775"/>
                <a:gd name="connsiteX10" fmla="*/ 2164702 w 3331029"/>
                <a:gd name="connsiteY10" fmla="*/ 1782147 h 1912775"/>
                <a:gd name="connsiteX11" fmla="*/ 1436914 w 3331029"/>
                <a:gd name="connsiteY11" fmla="*/ 0 h 1912775"/>
                <a:gd name="connsiteX0" fmla="*/ 1436914 w 3331029"/>
                <a:gd name="connsiteY0" fmla="*/ 0 h 1912775"/>
                <a:gd name="connsiteX1" fmla="*/ 0 w 3331029"/>
                <a:gd name="connsiteY1" fmla="*/ 1614196 h 1912775"/>
                <a:gd name="connsiteX2" fmla="*/ 746449 w 3331029"/>
                <a:gd name="connsiteY2" fmla="*/ 1828800 h 1912775"/>
                <a:gd name="connsiteX3" fmla="*/ 1735494 w 3331029"/>
                <a:gd name="connsiteY3" fmla="*/ 1912775 h 1912775"/>
                <a:gd name="connsiteX4" fmla="*/ 2948474 w 3331029"/>
                <a:gd name="connsiteY4" fmla="*/ 1884784 h 1912775"/>
                <a:gd name="connsiteX5" fmla="*/ 2901821 w 3331029"/>
                <a:gd name="connsiteY5" fmla="*/ 1772816 h 1912775"/>
                <a:gd name="connsiteX6" fmla="*/ 3247053 w 3331029"/>
                <a:gd name="connsiteY6" fmla="*/ 783771 h 1912775"/>
                <a:gd name="connsiteX7" fmla="*/ 3331029 w 3331029"/>
                <a:gd name="connsiteY7" fmla="*/ 513184 h 1912775"/>
                <a:gd name="connsiteX8" fmla="*/ 3331029 w 3331029"/>
                <a:gd name="connsiteY8" fmla="*/ 158620 h 1912775"/>
                <a:gd name="connsiteX9" fmla="*/ 2911151 w 3331029"/>
                <a:gd name="connsiteY9" fmla="*/ 0 h 1912775"/>
                <a:gd name="connsiteX10" fmla="*/ 2164702 w 3331029"/>
                <a:gd name="connsiteY10" fmla="*/ 1782147 h 1912775"/>
                <a:gd name="connsiteX11" fmla="*/ 1436914 w 3331029"/>
                <a:gd name="connsiteY11" fmla="*/ 0 h 1912775"/>
                <a:gd name="connsiteX0" fmla="*/ 1436914 w 3331029"/>
                <a:gd name="connsiteY0" fmla="*/ 0 h 1912775"/>
                <a:gd name="connsiteX1" fmla="*/ 0 w 3331029"/>
                <a:gd name="connsiteY1" fmla="*/ 1614196 h 1912775"/>
                <a:gd name="connsiteX2" fmla="*/ 746449 w 3331029"/>
                <a:gd name="connsiteY2" fmla="*/ 1828800 h 1912775"/>
                <a:gd name="connsiteX3" fmla="*/ 1735494 w 3331029"/>
                <a:gd name="connsiteY3" fmla="*/ 1912775 h 1912775"/>
                <a:gd name="connsiteX4" fmla="*/ 2948474 w 3331029"/>
                <a:gd name="connsiteY4" fmla="*/ 1884784 h 1912775"/>
                <a:gd name="connsiteX5" fmla="*/ 2901821 w 3331029"/>
                <a:gd name="connsiteY5" fmla="*/ 1772816 h 1912775"/>
                <a:gd name="connsiteX6" fmla="*/ 3247053 w 3331029"/>
                <a:gd name="connsiteY6" fmla="*/ 783771 h 1912775"/>
                <a:gd name="connsiteX7" fmla="*/ 3331029 w 3331029"/>
                <a:gd name="connsiteY7" fmla="*/ 513184 h 1912775"/>
                <a:gd name="connsiteX8" fmla="*/ 3331029 w 3331029"/>
                <a:gd name="connsiteY8" fmla="*/ 158620 h 1912775"/>
                <a:gd name="connsiteX9" fmla="*/ 2911151 w 3331029"/>
                <a:gd name="connsiteY9" fmla="*/ 0 h 1912775"/>
                <a:gd name="connsiteX10" fmla="*/ 2164702 w 3331029"/>
                <a:gd name="connsiteY10" fmla="*/ 1782147 h 1912775"/>
                <a:gd name="connsiteX11" fmla="*/ 1436914 w 3331029"/>
                <a:gd name="connsiteY11" fmla="*/ 0 h 1912775"/>
                <a:gd name="connsiteX0" fmla="*/ 1436914 w 3331029"/>
                <a:gd name="connsiteY0" fmla="*/ 0 h 1912775"/>
                <a:gd name="connsiteX1" fmla="*/ 0 w 3331029"/>
                <a:gd name="connsiteY1" fmla="*/ 1614196 h 1912775"/>
                <a:gd name="connsiteX2" fmla="*/ 1735494 w 3331029"/>
                <a:gd name="connsiteY2" fmla="*/ 1912775 h 1912775"/>
                <a:gd name="connsiteX3" fmla="*/ 2948474 w 3331029"/>
                <a:gd name="connsiteY3" fmla="*/ 1884784 h 1912775"/>
                <a:gd name="connsiteX4" fmla="*/ 2901821 w 3331029"/>
                <a:gd name="connsiteY4" fmla="*/ 1772816 h 1912775"/>
                <a:gd name="connsiteX5" fmla="*/ 3247053 w 3331029"/>
                <a:gd name="connsiteY5" fmla="*/ 783771 h 1912775"/>
                <a:gd name="connsiteX6" fmla="*/ 3331029 w 3331029"/>
                <a:gd name="connsiteY6" fmla="*/ 513184 h 1912775"/>
                <a:gd name="connsiteX7" fmla="*/ 3331029 w 3331029"/>
                <a:gd name="connsiteY7" fmla="*/ 158620 h 1912775"/>
                <a:gd name="connsiteX8" fmla="*/ 2911151 w 3331029"/>
                <a:gd name="connsiteY8" fmla="*/ 0 h 1912775"/>
                <a:gd name="connsiteX9" fmla="*/ 2164702 w 3331029"/>
                <a:gd name="connsiteY9" fmla="*/ 1782147 h 1912775"/>
                <a:gd name="connsiteX10" fmla="*/ 1436914 w 3331029"/>
                <a:gd name="connsiteY10" fmla="*/ 0 h 1912775"/>
                <a:gd name="connsiteX0" fmla="*/ 1436914 w 3331029"/>
                <a:gd name="connsiteY0" fmla="*/ 0 h 1884784"/>
                <a:gd name="connsiteX1" fmla="*/ 0 w 3331029"/>
                <a:gd name="connsiteY1" fmla="*/ 1614196 h 1884784"/>
                <a:gd name="connsiteX2" fmla="*/ 2948474 w 3331029"/>
                <a:gd name="connsiteY2" fmla="*/ 1884784 h 1884784"/>
                <a:gd name="connsiteX3" fmla="*/ 2901821 w 3331029"/>
                <a:gd name="connsiteY3" fmla="*/ 1772816 h 1884784"/>
                <a:gd name="connsiteX4" fmla="*/ 3247053 w 3331029"/>
                <a:gd name="connsiteY4" fmla="*/ 783771 h 1884784"/>
                <a:gd name="connsiteX5" fmla="*/ 3331029 w 3331029"/>
                <a:gd name="connsiteY5" fmla="*/ 513184 h 1884784"/>
                <a:gd name="connsiteX6" fmla="*/ 3331029 w 3331029"/>
                <a:gd name="connsiteY6" fmla="*/ 158620 h 1884784"/>
                <a:gd name="connsiteX7" fmla="*/ 2911151 w 3331029"/>
                <a:gd name="connsiteY7" fmla="*/ 0 h 1884784"/>
                <a:gd name="connsiteX8" fmla="*/ 2164702 w 3331029"/>
                <a:gd name="connsiteY8" fmla="*/ 1782147 h 1884784"/>
                <a:gd name="connsiteX9" fmla="*/ 1436914 w 3331029"/>
                <a:gd name="connsiteY9" fmla="*/ 0 h 1884784"/>
                <a:gd name="connsiteX0" fmla="*/ 1436914 w 3331029"/>
                <a:gd name="connsiteY0" fmla="*/ 0 h 1884784"/>
                <a:gd name="connsiteX1" fmla="*/ 0 w 3331029"/>
                <a:gd name="connsiteY1" fmla="*/ 1614196 h 1884784"/>
                <a:gd name="connsiteX2" fmla="*/ 2948474 w 3331029"/>
                <a:gd name="connsiteY2" fmla="*/ 1884784 h 1884784"/>
                <a:gd name="connsiteX3" fmla="*/ 2901821 w 3331029"/>
                <a:gd name="connsiteY3" fmla="*/ 1772816 h 1884784"/>
                <a:gd name="connsiteX4" fmla="*/ 3247053 w 3331029"/>
                <a:gd name="connsiteY4" fmla="*/ 783771 h 1884784"/>
                <a:gd name="connsiteX5" fmla="*/ 3331029 w 3331029"/>
                <a:gd name="connsiteY5" fmla="*/ 513184 h 1884784"/>
                <a:gd name="connsiteX6" fmla="*/ 3331029 w 3331029"/>
                <a:gd name="connsiteY6" fmla="*/ 158620 h 1884784"/>
                <a:gd name="connsiteX7" fmla="*/ 2911151 w 3331029"/>
                <a:gd name="connsiteY7" fmla="*/ 0 h 1884784"/>
                <a:gd name="connsiteX8" fmla="*/ 2164702 w 3331029"/>
                <a:gd name="connsiteY8" fmla="*/ 1782147 h 1884784"/>
                <a:gd name="connsiteX9" fmla="*/ 1436914 w 3331029"/>
                <a:gd name="connsiteY9" fmla="*/ 0 h 1884784"/>
                <a:gd name="connsiteX0" fmla="*/ 1436914 w 3331029"/>
                <a:gd name="connsiteY0" fmla="*/ 0 h 1915295"/>
                <a:gd name="connsiteX1" fmla="*/ 0 w 3331029"/>
                <a:gd name="connsiteY1" fmla="*/ 1614196 h 1915295"/>
                <a:gd name="connsiteX2" fmla="*/ 2948474 w 3331029"/>
                <a:gd name="connsiteY2" fmla="*/ 1884784 h 1915295"/>
                <a:gd name="connsiteX3" fmla="*/ 2901821 w 3331029"/>
                <a:gd name="connsiteY3" fmla="*/ 1772816 h 1915295"/>
                <a:gd name="connsiteX4" fmla="*/ 3247053 w 3331029"/>
                <a:gd name="connsiteY4" fmla="*/ 783771 h 1915295"/>
                <a:gd name="connsiteX5" fmla="*/ 3331029 w 3331029"/>
                <a:gd name="connsiteY5" fmla="*/ 513184 h 1915295"/>
                <a:gd name="connsiteX6" fmla="*/ 3331029 w 3331029"/>
                <a:gd name="connsiteY6" fmla="*/ 158620 h 1915295"/>
                <a:gd name="connsiteX7" fmla="*/ 2911151 w 3331029"/>
                <a:gd name="connsiteY7" fmla="*/ 0 h 1915295"/>
                <a:gd name="connsiteX8" fmla="*/ 2164702 w 3331029"/>
                <a:gd name="connsiteY8" fmla="*/ 1782147 h 1915295"/>
                <a:gd name="connsiteX9" fmla="*/ 1436914 w 3331029"/>
                <a:gd name="connsiteY9" fmla="*/ 0 h 1915295"/>
                <a:gd name="connsiteX0" fmla="*/ 1436914 w 3331029"/>
                <a:gd name="connsiteY0" fmla="*/ 0 h 1915295"/>
                <a:gd name="connsiteX1" fmla="*/ 0 w 3331029"/>
                <a:gd name="connsiteY1" fmla="*/ 1614196 h 1915295"/>
                <a:gd name="connsiteX2" fmla="*/ 2948474 w 3331029"/>
                <a:gd name="connsiteY2" fmla="*/ 1884784 h 1915295"/>
                <a:gd name="connsiteX3" fmla="*/ 2901821 w 3331029"/>
                <a:gd name="connsiteY3" fmla="*/ 1772816 h 1915295"/>
                <a:gd name="connsiteX4" fmla="*/ 3331029 w 3331029"/>
                <a:gd name="connsiteY4" fmla="*/ 513184 h 1915295"/>
                <a:gd name="connsiteX5" fmla="*/ 3331029 w 3331029"/>
                <a:gd name="connsiteY5" fmla="*/ 158620 h 1915295"/>
                <a:gd name="connsiteX6" fmla="*/ 2911151 w 3331029"/>
                <a:gd name="connsiteY6" fmla="*/ 0 h 1915295"/>
                <a:gd name="connsiteX7" fmla="*/ 2164702 w 3331029"/>
                <a:gd name="connsiteY7" fmla="*/ 1782147 h 1915295"/>
                <a:gd name="connsiteX8" fmla="*/ 1436914 w 3331029"/>
                <a:gd name="connsiteY8" fmla="*/ 0 h 1915295"/>
                <a:gd name="connsiteX0" fmla="*/ 1436914 w 3331029"/>
                <a:gd name="connsiteY0" fmla="*/ 0 h 1915295"/>
                <a:gd name="connsiteX1" fmla="*/ 0 w 3331029"/>
                <a:gd name="connsiteY1" fmla="*/ 1614196 h 1915295"/>
                <a:gd name="connsiteX2" fmla="*/ 2948474 w 3331029"/>
                <a:gd name="connsiteY2" fmla="*/ 1884784 h 1915295"/>
                <a:gd name="connsiteX3" fmla="*/ 2901821 w 3331029"/>
                <a:gd name="connsiteY3" fmla="*/ 1772816 h 1915295"/>
                <a:gd name="connsiteX4" fmla="*/ 3331029 w 3331029"/>
                <a:gd name="connsiteY4" fmla="*/ 513184 h 1915295"/>
                <a:gd name="connsiteX5" fmla="*/ 3331029 w 3331029"/>
                <a:gd name="connsiteY5" fmla="*/ 158620 h 1915295"/>
                <a:gd name="connsiteX6" fmla="*/ 2911151 w 3331029"/>
                <a:gd name="connsiteY6" fmla="*/ 0 h 1915295"/>
                <a:gd name="connsiteX7" fmla="*/ 2164702 w 3331029"/>
                <a:gd name="connsiteY7" fmla="*/ 1782147 h 1915295"/>
                <a:gd name="connsiteX8" fmla="*/ 1436914 w 3331029"/>
                <a:gd name="connsiteY8" fmla="*/ 0 h 1915295"/>
                <a:gd name="connsiteX0" fmla="*/ 1414689 w 3308804"/>
                <a:gd name="connsiteY0" fmla="*/ 0 h 1917453"/>
                <a:gd name="connsiteX1" fmla="*/ 0 w 3308804"/>
                <a:gd name="connsiteY1" fmla="*/ 1623721 h 1917453"/>
                <a:gd name="connsiteX2" fmla="*/ 2926249 w 3308804"/>
                <a:gd name="connsiteY2" fmla="*/ 1884784 h 1917453"/>
                <a:gd name="connsiteX3" fmla="*/ 2879596 w 3308804"/>
                <a:gd name="connsiteY3" fmla="*/ 1772816 h 1917453"/>
                <a:gd name="connsiteX4" fmla="*/ 3308804 w 3308804"/>
                <a:gd name="connsiteY4" fmla="*/ 513184 h 1917453"/>
                <a:gd name="connsiteX5" fmla="*/ 3308804 w 3308804"/>
                <a:gd name="connsiteY5" fmla="*/ 158620 h 1917453"/>
                <a:gd name="connsiteX6" fmla="*/ 2888926 w 3308804"/>
                <a:gd name="connsiteY6" fmla="*/ 0 h 1917453"/>
                <a:gd name="connsiteX7" fmla="*/ 2142477 w 3308804"/>
                <a:gd name="connsiteY7" fmla="*/ 1782147 h 1917453"/>
                <a:gd name="connsiteX8" fmla="*/ 1414689 w 3308804"/>
                <a:gd name="connsiteY8" fmla="*/ 0 h 1917453"/>
                <a:gd name="connsiteX0" fmla="*/ 1417845 w 3311960"/>
                <a:gd name="connsiteY0" fmla="*/ 0 h 1917453"/>
                <a:gd name="connsiteX1" fmla="*/ 3156 w 3311960"/>
                <a:gd name="connsiteY1" fmla="*/ 1623721 h 1917453"/>
                <a:gd name="connsiteX2" fmla="*/ 2929405 w 3311960"/>
                <a:gd name="connsiteY2" fmla="*/ 1884784 h 1917453"/>
                <a:gd name="connsiteX3" fmla="*/ 2882752 w 3311960"/>
                <a:gd name="connsiteY3" fmla="*/ 1772816 h 1917453"/>
                <a:gd name="connsiteX4" fmla="*/ 3311960 w 3311960"/>
                <a:gd name="connsiteY4" fmla="*/ 513184 h 1917453"/>
                <a:gd name="connsiteX5" fmla="*/ 3311960 w 3311960"/>
                <a:gd name="connsiteY5" fmla="*/ 158620 h 1917453"/>
                <a:gd name="connsiteX6" fmla="*/ 2892082 w 3311960"/>
                <a:gd name="connsiteY6" fmla="*/ 0 h 1917453"/>
                <a:gd name="connsiteX7" fmla="*/ 2145633 w 3311960"/>
                <a:gd name="connsiteY7" fmla="*/ 1782147 h 1917453"/>
                <a:gd name="connsiteX8" fmla="*/ 1417845 w 3311960"/>
                <a:gd name="connsiteY8" fmla="*/ 0 h 1917453"/>
                <a:gd name="connsiteX0" fmla="*/ 1421914 w 3316029"/>
                <a:gd name="connsiteY0" fmla="*/ 0 h 1917453"/>
                <a:gd name="connsiteX1" fmla="*/ 7225 w 3316029"/>
                <a:gd name="connsiteY1" fmla="*/ 1623721 h 1917453"/>
                <a:gd name="connsiteX2" fmla="*/ 2933474 w 3316029"/>
                <a:gd name="connsiteY2" fmla="*/ 1884784 h 1917453"/>
                <a:gd name="connsiteX3" fmla="*/ 2886821 w 3316029"/>
                <a:gd name="connsiteY3" fmla="*/ 1772816 h 1917453"/>
                <a:gd name="connsiteX4" fmla="*/ 3316029 w 3316029"/>
                <a:gd name="connsiteY4" fmla="*/ 513184 h 1917453"/>
                <a:gd name="connsiteX5" fmla="*/ 3316029 w 3316029"/>
                <a:gd name="connsiteY5" fmla="*/ 158620 h 1917453"/>
                <a:gd name="connsiteX6" fmla="*/ 2896151 w 3316029"/>
                <a:gd name="connsiteY6" fmla="*/ 0 h 1917453"/>
                <a:gd name="connsiteX7" fmla="*/ 2149702 w 3316029"/>
                <a:gd name="connsiteY7" fmla="*/ 1782147 h 1917453"/>
                <a:gd name="connsiteX8" fmla="*/ 1421914 w 3316029"/>
                <a:gd name="connsiteY8" fmla="*/ 0 h 1917453"/>
                <a:gd name="connsiteX0" fmla="*/ 1421914 w 3316029"/>
                <a:gd name="connsiteY0" fmla="*/ 0 h 1917453"/>
                <a:gd name="connsiteX1" fmla="*/ 7225 w 3316029"/>
                <a:gd name="connsiteY1" fmla="*/ 1623721 h 1917453"/>
                <a:gd name="connsiteX2" fmla="*/ 2933474 w 3316029"/>
                <a:gd name="connsiteY2" fmla="*/ 1884784 h 1917453"/>
                <a:gd name="connsiteX3" fmla="*/ 2886821 w 3316029"/>
                <a:gd name="connsiteY3" fmla="*/ 1772816 h 1917453"/>
                <a:gd name="connsiteX4" fmla="*/ 3316029 w 3316029"/>
                <a:gd name="connsiteY4" fmla="*/ 513184 h 1917453"/>
                <a:gd name="connsiteX5" fmla="*/ 3316029 w 3316029"/>
                <a:gd name="connsiteY5" fmla="*/ 158620 h 1917453"/>
                <a:gd name="connsiteX6" fmla="*/ 2896151 w 3316029"/>
                <a:gd name="connsiteY6" fmla="*/ 0 h 1917453"/>
                <a:gd name="connsiteX7" fmla="*/ 2149702 w 3316029"/>
                <a:gd name="connsiteY7" fmla="*/ 1782147 h 1917453"/>
                <a:gd name="connsiteX8" fmla="*/ 1421914 w 3316029"/>
                <a:gd name="connsiteY8" fmla="*/ 0 h 191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16029" h="1917453">
                  <a:moveTo>
                    <a:pt x="1421914" y="0"/>
                  </a:moveTo>
                  <a:cubicBezTo>
                    <a:pt x="-316689" y="435428"/>
                    <a:pt x="45908" y="1617501"/>
                    <a:pt x="7225" y="1623721"/>
                  </a:cubicBezTo>
                  <a:cubicBezTo>
                    <a:pt x="868946" y="1956513"/>
                    <a:pt x="1941319" y="1943878"/>
                    <a:pt x="2933474" y="1884784"/>
                  </a:cubicBezTo>
                  <a:lnTo>
                    <a:pt x="2886821" y="1772816"/>
                  </a:lnTo>
                  <a:lnTo>
                    <a:pt x="3316029" y="513184"/>
                  </a:lnTo>
                  <a:lnTo>
                    <a:pt x="3316029" y="158620"/>
                  </a:lnTo>
                  <a:lnTo>
                    <a:pt x="2896151" y="0"/>
                  </a:lnTo>
                  <a:cubicBezTo>
                    <a:pt x="2731310" y="584719"/>
                    <a:pt x="2473163" y="1374710"/>
                    <a:pt x="2149702" y="1782147"/>
                  </a:cubicBezTo>
                  <a:cubicBezTo>
                    <a:pt x="1826241" y="1377820"/>
                    <a:pt x="1568094" y="572278"/>
                    <a:pt x="1421914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698">
                <a:defRPr/>
              </a:pPr>
              <a:endParaRPr lang="en-IN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1" name="Freeform 18"/>
            <p:cNvSpPr/>
            <p:nvPr/>
          </p:nvSpPr>
          <p:spPr>
            <a:xfrm>
              <a:off x="7703901" y="4266374"/>
              <a:ext cx="426246" cy="1117201"/>
            </a:xfrm>
            <a:custGeom>
              <a:avLst/>
              <a:gdLst>
                <a:gd name="connsiteX0" fmla="*/ 73823 w 426246"/>
                <a:gd name="connsiteY0" fmla="*/ 402431 h 1117201"/>
                <a:gd name="connsiteX1" fmla="*/ 352424 w 426246"/>
                <a:gd name="connsiteY1" fmla="*/ 402431 h 1117201"/>
                <a:gd name="connsiteX2" fmla="*/ 426246 w 426246"/>
                <a:gd name="connsiteY2" fmla="*/ 726281 h 1117201"/>
                <a:gd name="connsiteX3" fmla="*/ 426245 w 426246"/>
                <a:gd name="connsiteY3" fmla="*/ 726281 h 1117201"/>
                <a:gd name="connsiteX4" fmla="*/ 213123 w 426246"/>
                <a:gd name="connsiteY4" fmla="*/ 1117201 h 1117201"/>
                <a:gd name="connsiteX5" fmla="*/ 0 w 426246"/>
                <a:gd name="connsiteY5" fmla="*/ 726281 h 1117201"/>
                <a:gd name="connsiteX6" fmla="*/ 1 w 426246"/>
                <a:gd name="connsiteY6" fmla="*/ 726281 h 1117201"/>
                <a:gd name="connsiteX7" fmla="*/ 46437 w 426246"/>
                <a:gd name="connsiteY7" fmla="*/ 0 h 1117201"/>
                <a:gd name="connsiteX8" fmla="*/ 379811 w 426246"/>
                <a:gd name="connsiteY8" fmla="*/ 0 h 1117201"/>
                <a:gd name="connsiteX9" fmla="*/ 426246 w 426246"/>
                <a:gd name="connsiteY9" fmla="*/ 46435 h 1117201"/>
                <a:gd name="connsiteX10" fmla="*/ 358380 w 426246"/>
                <a:gd name="connsiteY10" fmla="*/ 335756 h 1117201"/>
                <a:gd name="connsiteX11" fmla="*/ 65488 w 426246"/>
                <a:gd name="connsiteY11" fmla="*/ 335756 h 1117201"/>
                <a:gd name="connsiteX12" fmla="*/ 2 w 426246"/>
                <a:gd name="connsiteY12" fmla="*/ 46435 h 1117201"/>
                <a:gd name="connsiteX13" fmla="*/ 46437 w 426246"/>
                <a:gd name="connsiteY13" fmla="*/ 0 h 111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6246" h="1117201">
                  <a:moveTo>
                    <a:pt x="73823" y="402431"/>
                  </a:moveTo>
                  <a:lnTo>
                    <a:pt x="352424" y="402431"/>
                  </a:lnTo>
                  <a:lnTo>
                    <a:pt x="426246" y="726281"/>
                  </a:lnTo>
                  <a:lnTo>
                    <a:pt x="426245" y="726281"/>
                  </a:lnTo>
                  <a:lnTo>
                    <a:pt x="213123" y="1117201"/>
                  </a:lnTo>
                  <a:lnTo>
                    <a:pt x="0" y="726281"/>
                  </a:lnTo>
                  <a:lnTo>
                    <a:pt x="1" y="726281"/>
                  </a:lnTo>
                  <a:close/>
                  <a:moveTo>
                    <a:pt x="46437" y="0"/>
                  </a:moveTo>
                  <a:lnTo>
                    <a:pt x="379811" y="0"/>
                  </a:lnTo>
                  <a:cubicBezTo>
                    <a:pt x="405456" y="0"/>
                    <a:pt x="426246" y="20790"/>
                    <a:pt x="426246" y="46435"/>
                  </a:cubicBezTo>
                  <a:lnTo>
                    <a:pt x="358380" y="335756"/>
                  </a:lnTo>
                  <a:lnTo>
                    <a:pt x="65488" y="335756"/>
                  </a:lnTo>
                  <a:cubicBezTo>
                    <a:pt x="49813" y="273249"/>
                    <a:pt x="2" y="102394"/>
                    <a:pt x="2" y="46435"/>
                  </a:cubicBezTo>
                  <a:cubicBezTo>
                    <a:pt x="2" y="20790"/>
                    <a:pt x="20792" y="0"/>
                    <a:pt x="46437" y="0"/>
                  </a:cubicBezTo>
                  <a:close/>
                </a:path>
              </a:pathLst>
            </a:custGeom>
            <a:solidFill>
              <a:schemeClr val="tx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698">
                <a:defRPr/>
              </a:pPr>
              <a:endParaRPr lang="en-IN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2" name="Freeform 19"/>
            <p:cNvSpPr/>
            <p:nvPr/>
          </p:nvSpPr>
          <p:spPr>
            <a:xfrm>
              <a:off x="8847534" y="3857942"/>
              <a:ext cx="1547508" cy="2041525"/>
            </a:xfrm>
            <a:custGeom>
              <a:avLst/>
              <a:gdLst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98550 w 1543050"/>
                <a:gd name="connsiteY15" fmla="*/ 942975 h 2041525"/>
                <a:gd name="connsiteX16" fmla="*/ 450850 w 1543050"/>
                <a:gd name="connsiteY16" fmla="*/ 939800 h 2041525"/>
                <a:gd name="connsiteX17" fmla="*/ 539750 w 1543050"/>
                <a:gd name="connsiteY17" fmla="*/ 679450 h 2041525"/>
                <a:gd name="connsiteX18" fmla="*/ 558800 w 1543050"/>
                <a:gd name="connsiteY18" fmla="*/ 536575 h 2041525"/>
                <a:gd name="connsiteX19" fmla="*/ 552450 w 1543050"/>
                <a:gd name="connsiteY19" fmla="*/ 9525 h 2041525"/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98550 w 1543050"/>
                <a:gd name="connsiteY15" fmla="*/ 942975 h 2041525"/>
                <a:gd name="connsiteX16" fmla="*/ 450850 w 1543050"/>
                <a:gd name="connsiteY16" fmla="*/ 939800 h 2041525"/>
                <a:gd name="connsiteX17" fmla="*/ 558800 w 1543050"/>
                <a:gd name="connsiteY17" fmla="*/ 536575 h 2041525"/>
                <a:gd name="connsiteX18" fmla="*/ 552450 w 1543050"/>
                <a:gd name="connsiteY18" fmla="*/ 9525 h 2041525"/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98550 w 1543050"/>
                <a:gd name="connsiteY15" fmla="*/ 942975 h 2041525"/>
                <a:gd name="connsiteX16" fmla="*/ 450850 w 1543050"/>
                <a:gd name="connsiteY16" fmla="*/ 939800 h 2041525"/>
                <a:gd name="connsiteX17" fmla="*/ 558800 w 1543050"/>
                <a:gd name="connsiteY17" fmla="*/ 536575 h 2041525"/>
                <a:gd name="connsiteX18" fmla="*/ 552450 w 1543050"/>
                <a:gd name="connsiteY18" fmla="*/ 9525 h 2041525"/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98550 w 1543050"/>
                <a:gd name="connsiteY15" fmla="*/ 942975 h 2041525"/>
                <a:gd name="connsiteX16" fmla="*/ 450850 w 1543050"/>
                <a:gd name="connsiteY16" fmla="*/ 939800 h 2041525"/>
                <a:gd name="connsiteX17" fmla="*/ 558800 w 1543050"/>
                <a:gd name="connsiteY17" fmla="*/ 536575 h 2041525"/>
                <a:gd name="connsiteX18" fmla="*/ 552450 w 1543050"/>
                <a:gd name="connsiteY18" fmla="*/ 9525 h 2041525"/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98550 w 1543050"/>
                <a:gd name="connsiteY15" fmla="*/ 942975 h 2041525"/>
                <a:gd name="connsiteX16" fmla="*/ 450850 w 1543050"/>
                <a:gd name="connsiteY16" fmla="*/ 939800 h 2041525"/>
                <a:gd name="connsiteX17" fmla="*/ 558800 w 1543050"/>
                <a:gd name="connsiteY17" fmla="*/ 536575 h 2041525"/>
                <a:gd name="connsiteX18" fmla="*/ 552450 w 1543050"/>
                <a:gd name="connsiteY18" fmla="*/ 9525 h 2041525"/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98550 w 1543050"/>
                <a:gd name="connsiteY15" fmla="*/ 942975 h 2041525"/>
                <a:gd name="connsiteX16" fmla="*/ 463550 w 1543050"/>
                <a:gd name="connsiteY16" fmla="*/ 930275 h 2041525"/>
                <a:gd name="connsiteX17" fmla="*/ 558800 w 1543050"/>
                <a:gd name="connsiteY17" fmla="*/ 536575 h 2041525"/>
                <a:gd name="connsiteX18" fmla="*/ 552450 w 1543050"/>
                <a:gd name="connsiteY18" fmla="*/ 9525 h 2041525"/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8800 w 1543050"/>
                <a:gd name="connsiteY17" fmla="*/ 536575 h 2041525"/>
                <a:gd name="connsiteX18" fmla="*/ 552450 w 1543050"/>
                <a:gd name="connsiteY18" fmla="*/ 9525 h 2041525"/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8800 w 1543050"/>
                <a:gd name="connsiteY17" fmla="*/ 536575 h 2041525"/>
                <a:gd name="connsiteX18" fmla="*/ 552450 w 1543050"/>
                <a:gd name="connsiteY18" fmla="*/ 9525 h 2041525"/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8800 w 1543050"/>
                <a:gd name="connsiteY17" fmla="*/ 536575 h 2041525"/>
                <a:gd name="connsiteX18" fmla="*/ 552450 w 1543050"/>
                <a:gd name="connsiteY18" fmla="*/ 9525 h 2041525"/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2450 w 1543050"/>
                <a:gd name="connsiteY17" fmla="*/ 9525 h 2041525"/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2450 w 1543050"/>
                <a:gd name="connsiteY17" fmla="*/ 9525 h 2041525"/>
                <a:gd name="connsiteX0" fmla="*/ 552450 w 1543050"/>
                <a:gd name="connsiteY0" fmla="*/ 952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2450 w 1543050"/>
                <a:gd name="connsiteY17" fmla="*/ 9525 h 2041525"/>
                <a:gd name="connsiteX0" fmla="*/ 56197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61975 w 1543050"/>
                <a:gd name="connsiteY17" fmla="*/ 3175 h 2041525"/>
                <a:gd name="connsiteX0" fmla="*/ 56197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61975 w 1543050"/>
                <a:gd name="connsiteY17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5625 w 1543050"/>
                <a:gd name="connsiteY17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5625 w 1543050"/>
                <a:gd name="connsiteY17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5625 w 1543050"/>
                <a:gd name="connsiteY17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5625 w 1543050"/>
                <a:gd name="connsiteY17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5625 w 1543050"/>
                <a:gd name="connsiteY17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00125 w 1543050"/>
                <a:gd name="connsiteY14" fmla="*/ 584200 h 2041525"/>
                <a:gd name="connsiteX15" fmla="*/ 1079500 w 1543050"/>
                <a:gd name="connsiteY15" fmla="*/ 936625 h 2041525"/>
                <a:gd name="connsiteX16" fmla="*/ 463550 w 1543050"/>
                <a:gd name="connsiteY16" fmla="*/ 930275 h 2041525"/>
                <a:gd name="connsiteX17" fmla="*/ 555625 w 1543050"/>
                <a:gd name="connsiteY17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30300 w 1543050"/>
                <a:gd name="connsiteY11" fmla="*/ 504825 h 2041525"/>
                <a:gd name="connsiteX12" fmla="*/ 1120775 w 1543050"/>
                <a:gd name="connsiteY12" fmla="*/ 12700 h 2041525"/>
                <a:gd name="connsiteX13" fmla="*/ 996950 w 1543050"/>
                <a:gd name="connsiteY13" fmla="*/ 12700 h 2041525"/>
                <a:gd name="connsiteX14" fmla="*/ 1079500 w 1543050"/>
                <a:gd name="connsiteY14" fmla="*/ 936625 h 2041525"/>
                <a:gd name="connsiteX15" fmla="*/ 463550 w 1543050"/>
                <a:gd name="connsiteY15" fmla="*/ 930275 h 2041525"/>
                <a:gd name="connsiteX16" fmla="*/ 555625 w 1543050"/>
                <a:gd name="connsiteY16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43000 w 1543050"/>
                <a:gd name="connsiteY10" fmla="*/ 657225 h 2041525"/>
                <a:gd name="connsiteX11" fmla="*/ 1120775 w 1543050"/>
                <a:gd name="connsiteY11" fmla="*/ 12700 h 2041525"/>
                <a:gd name="connsiteX12" fmla="*/ 996950 w 1543050"/>
                <a:gd name="connsiteY12" fmla="*/ 12700 h 2041525"/>
                <a:gd name="connsiteX13" fmla="*/ 1079500 w 1543050"/>
                <a:gd name="connsiteY13" fmla="*/ 936625 h 2041525"/>
                <a:gd name="connsiteX14" fmla="*/ 463550 w 1543050"/>
                <a:gd name="connsiteY14" fmla="*/ 930275 h 2041525"/>
                <a:gd name="connsiteX15" fmla="*/ 555625 w 1543050"/>
                <a:gd name="connsiteY15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368300 w 1543050"/>
                <a:gd name="connsiteY3" fmla="*/ 796925 h 2041525"/>
                <a:gd name="connsiteX4" fmla="*/ 0 w 1543050"/>
                <a:gd name="connsiteY4" fmla="*/ 1873250 h 2041525"/>
                <a:gd name="connsiteX5" fmla="*/ 57150 w 1543050"/>
                <a:gd name="connsiteY5" fmla="*/ 1997075 h 2041525"/>
                <a:gd name="connsiteX6" fmla="*/ 171450 w 1543050"/>
                <a:gd name="connsiteY6" fmla="*/ 2041525 h 2041525"/>
                <a:gd name="connsiteX7" fmla="*/ 1381125 w 1543050"/>
                <a:gd name="connsiteY7" fmla="*/ 2041525 h 2041525"/>
                <a:gd name="connsiteX8" fmla="*/ 1508125 w 1543050"/>
                <a:gd name="connsiteY8" fmla="*/ 1990725 h 2041525"/>
                <a:gd name="connsiteX9" fmla="*/ 1543050 w 1543050"/>
                <a:gd name="connsiteY9" fmla="*/ 1806575 h 2041525"/>
                <a:gd name="connsiteX10" fmla="*/ 1120775 w 1543050"/>
                <a:gd name="connsiteY10" fmla="*/ 12700 h 2041525"/>
                <a:gd name="connsiteX11" fmla="*/ 996950 w 1543050"/>
                <a:gd name="connsiteY11" fmla="*/ 12700 h 2041525"/>
                <a:gd name="connsiteX12" fmla="*/ 1079500 w 1543050"/>
                <a:gd name="connsiteY12" fmla="*/ 936625 h 2041525"/>
                <a:gd name="connsiteX13" fmla="*/ 463550 w 1543050"/>
                <a:gd name="connsiteY13" fmla="*/ 930275 h 2041525"/>
                <a:gd name="connsiteX14" fmla="*/ 555625 w 1543050"/>
                <a:gd name="connsiteY14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422275 w 1543050"/>
                <a:gd name="connsiteY2" fmla="*/ 574675 h 2041525"/>
                <a:gd name="connsiteX3" fmla="*/ 0 w 1543050"/>
                <a:gd name="connsiteY3" fmla="*/ 1873250 h 2041525"/>
                <a:gd name="connsiteX4" fmla="*/ 57150 w 1543050"/>
                <a:gd name="connsiteY4" fmla="*/ 1997075 h 2041525"/>
                <a:gd name="connsiteX5" fmla="*/ 171450 w 1543050"/>
                <a:gd name="connsiteY5" fmla="*/ 2041525 h 2041525"/>
                <a:gd name="connsiteX6" fmla="*/ 1381125 w 1543050"/>
                <a:gd name="connsiteY6" fmla="*/ 2041525 h 2041525"/>
                <a:gd name="connsiteX7" fmla="*/ 1508125 w 1543050"/>
                <a:gd name="connsiteY7" fmla="*/ 1990725 h 2041525"/>
                <a:gd name="connsiteX8" fmla="*/ 1543050 w 1543050"/>
                <a:gd name="connsiteY8" fmla="*/ 1806575 h 2041525"/>
                <a:gd name="connsiteX9" fmla="*/ 1120775 w 1543050"/>
                <a:gd name="connsiteY9" fmla="*/ 12700 h 2041525"/>
                <a:gd name="connsiteX10" fmla="*/ 996950 w 1543050"/>
                <a:gd name="connsiteY10" fmla="*/ 12700 h 2041525"/>
                <a:gd name="connsiteX11" fmla="*/ 1079500 w 1543050"/>
                <a:gd name="connsiteY11" fmla="*/ 936625 h 2041525"/>
                <a:gd name="connsiteX12" fmla="*/ 463550 w 1543050"/>
                <a:gd name="connsiteY12" fmla="*/ 930275 h 2041525"/>
                <a:gd name="connsiteX13" fmla="*/ 555625 w 1543050"/>
                <a:gd name="connsiteY13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216025 w 1543050"/>
                <a:gd name="connsiteY8" fmla="*/ 962025 h 2041525"/>
                <a:gd name="connsiteX9" fmla="*/ 1120775 w 1543050"/>
                <a:gd name="connsiteY9" fmla="*/ 12700 h 2041525"/>
                <a:gd name="connsiteX10" fmla="*/ 996950 w 1543050"/>
                <a:gd name="connsiteY10" fmla="*/ 12700 h 2041525"/>
                <a:gd name="connsiteX11" fmla="*/ 1079500 w 1543050"/>
                <a:gd name="connsiteY11" fmla="*/ 936625 h 2041525"/>
                <a:gd name="connsiteX12" fmla="*/ 463550 w 1543050"/>
                <a:gd name="connsiteY12" fmla="*/ 930275 h 2041525"/>
                <a:gd name="connsiteX13" fmla="*/ 555625 w 1543050"/>
                <a:gd name="connsiteY13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244600 w 1543050"/>
                <a:gd name="connsiteY8" fmla="*/ 962025 h 2041525"/>
                <a:gd name="connsiteX9" fmla="*/ 1120775 w 1543050"/>
                <a:gd name="connsiteY9" fmla="*/ 12700 h 2041525"/>
                <a:gd name="connsiteX10" fmla="*/ 996950 w 1543050"/>
                <a:gd name="connsiteY10" fmla="*/ 12700 h 2041525"/>
                <a:gd name="connsiteX11" fmla="*/ 1079500 w 1543050"/>
                <a:gd name="connsiteY11" fmla="*/ 936625 h 2041525"/>
                <a:gd name="connsiteX12" fmla="*/ 463550 w 1543050"/>
                <a:gd name="connsiteY12" fmla="*/ 930275 h 2041525"/>
                <a:gd name="connsiteX13" fmla="*/ 555625 w 1543050"/>
                <a:gd name="connsiteY13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244600 w 1543050"/>
                <a:gd name="connsiteY8" fmla="*/ 962025 h 2041525"/>
                <a:gd name="connsiteX9" fmla="*/ 1120775 w 1543050"/>
                <a:gd name="connsiteY9" fmla="*/ 12700 h 2041525"/>
                <a:gd name="connsiteX10" fmla="*/ 996950 w 1543050"/>
                <a:gd name="connsiteY10" fmla="*/ 12700 h 2041525"/>
                <a:gd name="connsiteX11" fmla="*/ 1079500 w 1543050"/>
                <a:gd name="connsiteY11" fmla="*/ 936625 h 2041525"/>
                <a:gd name="connsiteX12" fmla="*/ 463550 w 1543050"/>
                <a:gd name="connsiteY12" fmla="*/ 930275 h 2041525"/>
                <a:gd name="connsiteX13" fmla="*/ 555625 w 1543050"/>
                <a:gd name="connsiteY13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244600 w 1543050"/>
                <a:gd name="connsiteY8" fmla="*/ 962025 h 2041525"/>
                <a:gd name="connsiteX9" fmla="*/ 1120775 w 1543050"/>
                <a:gd name="connsiteY9" fmla="*/ 12700 h 2041525"/>
                <a:gd name="connsiteX10" fmla="*/ 996950 w 1543050"/>
                <a:gd name="connsiteY10" fmla="*/ 12700 h 2041525"/>
                <a:gd name="connsiteX11" fmla="*/ 1079500 w 1543050"/>
                <a:gd name="connsiteY11" fmla="*/ 936625 h 2041525"/>
                <a:gd name="connsiteX12" fmla="*/ 463550 w 1543050"/>
                <a:gd name="connsiteY12" fmla="*/ 930275 h 2041525"/>
                <a:gd name="connsiteX13" fmla="*/ 555625 w 1543050"/>
                <a:gd name="connsiteY13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244600 w 1543050"/>
                <a:gd name="connsiteY8" fmla="*/ 962025 h 2041525"/>
                <a:gd name="connsiteX9" fmla="*/ 1120775 w 1543050"/>
                <a:gd name="connsiteY9" fmla="*/ 12700 h 2041525"/>
                <a:gd name="connsiteX10" fmla="*/ 996950 w 1543050"/>
                <a:gd name="connsiteY10" fmla="*/ 12700 h 2041525"/>
                <a:gd name="connsiteX11" fmla="*/ 1079500 w 1543050"/>
                <a:gd name="connsiteY11" fmla="*/ 936625 h 2041525"/>
                <a:gd name="connsiteX12" fmla="*/ 463550 w 1543050"/>
                <a:gd name="connsiteY12" fmla="*/ 930275 h 2041525"/>
                <a:gd name="connsiteX13" fmla="*/ 555625 w 1543050"/>
                <a:gd name="connsiteY13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244600 w 1543050"/>
                <a:gd name="connsiteY8" fmla="*/ 962025 h 2041525"/>
                <a:gd name="connsiteX9" fmla="*/ 1120775 w 1543050"/>
                <a:gd name="connsiteY9" fmla="*/ 12700 h 2041525"/>
                <a:gd name="connsiteX10" fmla="*/ 996950 w 1543050"/>
                <a:gd name="connsiteY10" fmla="*/ 12700 h 2041525"/>
                <a:gd name="connsiteX11" fmla="*/ 1079500 w 1543050"/>
                <a:gd name="connsiteY11" fmla="*/ 936625 h 2041525"/>
                <a:gd name="connsiteX12" fmla="*/ 463550 w 1543050"/>
                <a:gd name="connsiteY12" fmla="*/ 930275 h 2041525"/>
                <a:gd name="connsiteX13" fmla="*/ 555625 w 1543050"/>
                <a:gd name="connsiteY13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244600 w 1543050"/>
                <a:gd name="connsiteY8" fmla="*/ 962025 h 2041525"/>
                <a:gd name="connsiteX9" fmla="*/ 1120775 w 1543050"/>
                <a:gd name="connsiteY9" fmla="*/ 12700 h 2041525"/>
                <a:gd name="connsiteX10" fmla="*/ 996950 w 1543050"/>
                <a:gd name="connsiteY10" fmla="*/ 12700 h 2041525"/>
                <a:gd name="connsiteX11" fmla="*/ 1079500 w 1543050"/>
                <a:gd name="connsiteY11" fmla="*/ 936625 h 2041525"/>
                <a:gd name="connsiteX12" fmla="*/ 463550 w 1543050"/>
                <a:gd name="connsiteY12" fmla="*/ 930275 h 2041525"/>
                <a:gd name="connsiteX13" fmla="*/ 555625 w 1543050"/>
                <a:gd name="connsiteY13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244600 w 1543050"/>
                <a:gd name="connsiteY8" fmla="*/ 962025 h 2041525"/>
                <a:gd name="connsiteX9" fmla="*/ 1120775 w 1543050"/>
                <a:gd name="connsiteY9" fmla="*/ 12700 h 2041525"/>
                <a:gd name="connsiteX10" fmla="*/ 996950 w 1543050"/>
                <a:gd name="connsiteY10" fmla="*/ 12700 h 2041525"/>
                <a:gd name="connsiteX11" fmla="*/ 1079500 w 1543050"/>
                <a:gd name="connsiteY11" fmla="*/ 936625 h 2041525"/>
                <a:gd name="connsiteX12" fmla="*/ 463550 w 1543050"/>
                <a:gd name="connsiteY12" fmla="*/ 930275 h 2041525"/>
                <a:gd name="connsiteX13" fmla="*/ 555625 w 1543050"/>
                <a:gd name="connsiteY13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08125 w 1543050"/>
                <a:gd name="connsiteY6" fmla="*/ 1990725 h 2041525"/>
                <a:gd name="connsiteX7" fmla="*/ 1543050 w 1543050"/>
                <a:gd name="connsiteY7" fmla="*/ 1806575 h 2041525"/>
                <a:gd name="connsiteX8" fmla="*/ 1244600 w 1543050"/>
                <a:gd name="connsiteY8" fmla="*/ 962025 h 2041525"/>
                <a:gd name="connsiteX9" fmla="*/ 1120775 w 1543050"/>
                <a:gd name="connsiteY9" fmla="*/ 12700 h 2041525"/>
                <a:gd name="connsiteX10" fmla="*/ 996950 w 1543050"/>
                <a:gd name="connsiteY10" fmla="*/ 12700 h 2041525"/>
                <a:gd name="connsiteX11" fmla="*/ 1079500 w 1543050"/>
                <a:gd name="connsiteY11" fmla="*/ 936625 h 2041525"/>
                <a:gd name="connsiteX12" fmla="*/ 463550 w 1543050"/>
                <a:gd name="connsiteY12" fmla="*/ 930275 h 2041525"/>
                <a:gd name="connsiteX13" fmla="*/ 555625 w 1543050"/>
                <a:gd name="connsiteY13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57150 w 1543050"/>
                <a:gd name="connsiteY3" fmla="*/ 1997075 h 2041525"/>
                <a:gd name="connsiteX4" fmla="*/ 171450 w 1543050"/>
                <a:gd name="connsiteY4" fmla="*/ 2041525 h 2041525"/>
                <a:gd name="connsiteX5" fmla="*/ 1381125 w 1543050"/>
                <a:gd name="connsiteY5" fmla="*/ 2041525 h 2041525"/>
                <a:gd name="connsiteX6" fmla="*/ 1543050 w 1543050"/>
                <a:gd name="connsiteY6" fmla="*/ 1806575 h 2041525"/>
                <a:gd name="connsiteX7" fmla="*/ 1244600 w 1543050"/>
                <a:gd name="connsiteY7" fmla="*/ 962025 h 2041525"/>
                <a:gd name="connsiteX8" fmla="*/ 1120775 w 1543050"/>
                <a:gd name="connsiteY8" fmla="*/ 12700 h 2041525"/>
                <a:gd name="connsiteX9" fmla="*/ 996950 w 1543050"/>
                <a:gd name="connsiteY9" fmla="*/ 12700 h 2041525"/>
                <a:gd name="connsiteX10" fmla="*/ 1079500 w 1543050"/>
                <a:gd name="connsiteY10" fmla="*/ 936625 h 2041525"/>
                <a:gd name="connsiteX11" fmla="*/ 463550 w 1543050"/>
                <a:gd name="connsiteY11" fmla="*/ 930275 h 2041525"/>
                <a:gd name="connsiteX12" fmla="*/ 555625 w 1543050"/>
                <a:gd name="connsiteY12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171450 w 1543050"/>
                <a:gd name="connsiteY3" fmla="*/ 2041525 h 2041525"/>
                <a:gd name="connsiteX4" fmla="*/ 1381125 w 1543050"/>
                <a:gd name="connsiteY4" fmla="*/ 2041525 h 2041525"/>
                <a:gd name="connsiteX5" fmla="*/ 1543050 w 1543050"/>
                <a:gd name="connsiteY5" fmla="*/ 1806575 h 2041525"/>
                <a:gd name="connsiteX6" fmla="*/ 1244600 w 1543050"/>
                <a:gd name="connsiteY6" fmla="*/ 962025 h 2041525"/>
                <a:gd name="connsiteX7" fmla="*/ 1120775 w 1543050"/>
                <a:gd name="connsiteY7" fmla="*/ 12700 h 2041525"/>
                <a:gd name="connsiteX8" fmla="*/ 996950 w 1543050"/>
                <a:gd name="connsiteY8" fmla="*/ 12700 h 2041525"/>
                <a:gd name="connsiteX9" fmla="*/ 1079500 w 1543050"/>
                <a:gd name="connsiteY9" fmla="*/ 936625 h 2041525"/>
                <a:gd name="connsiteX10" fmla="*/ 463550 w 1543050"/>
                <a:gd name="connsiteY10" fmla="*/ 930275 h 2041525"/>
                <a:gd name="connsiteX11" fmla="*/ 555625 w 1543050"/>
                <a:gd name="connsiteY11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171450 w 1543050"/>
                <a:gd name="connsiteY3" fmla="*/ 2041525 h 2041525"/>
                <a:gd name="connsiteX4" fmla="*/ 1381125 w 1543050"/>
                <a:gd name="connsiteY4" fmla="*/ 2041525 h 2041525"/>
                <a:gd name="connsiteX5" fmla="*/ 1543050 w 1543050"/>
                <a:gd name="connsiteY5" fmla="*/ 1806575 h 2041525"/>
                <a:gd name="connsiteX6" fmla="*/ 1244600 w 1543050"/>
                <a:gd name="connsiteY6" fmla="*/ 962025 h 2041525"/>
                <a:gd name="connsiteX7" fmla="*/ 1120775 w 1543050"/>
                <a:gd name="connsiteY7" fmla="*/ 12700 h 2041525"/>
                <a:gd name="connsiteX8" fmla="*/ 996950 w 1543050"/>
                <a:gd name="connsiteY8" fmla="*/ 12700 h 2041525"/>
                <a:gd name="connsiteX9" fmla="*/ 1079500 w 1543050"/>
                <a:gd name="connsiteY9" fmla="*/ 936625 h 2041525"/>
                <a:gd name="connsiteX10" fmla="*/ 463550 w 1543050"/>
                <a:gd name="connsiteY10" fmla="*/ 930275 h 2041525"/>
                <a:gd name="connsiteX11" fmla="*/ 555625 w 1543050"/>
                <a:gd name="connsiteY11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171450 w 1543050"/>
                <a:gd name="connsiteY3" fmla="*/ 2041525 h 2041525"/>
                <a:gd name="connsiteX4" fmla="*/ 1381125 w 1543050"/>
                <a:gd name="connsiteY4" fmla="*/ 2041525 h 2041525"/>
                <a:gd name="connsiteX5" fmla="*/ 1543050 w 1543050"/>
                <a:gd name="connsiteY5" fmla="*/ 1806575 h 2041525"/>
                <a:gd name="connsiteX6" fmla="*/ 1244600 w 1543050"/>
                <a:gd name="connsiteY6" fmla="*/ 962025 h 2041525"/>
                <a:gd name="connsiteX7" fmla="*/ 1120775 w 1543050"/>
                <a:gd name="connsiteY7" fmla="*/ 12700 h 2041525"/>
                <a:gd name="connsiteX8" fmla="*/ 996950 w 1543050"/>
                <a:gd name="connsiteY8" fmla="*/ 12700 h 2041525"/>
                <a:gd name="connsiteX9" fmla="*/ 1079500 w 1543050"/>
                <a:gd name="connsiteY9" fmla="*/ 936625 h 2041525"/>
                <a:gd name="connsiteX10" fmla="*/ 463550 w 1543050"/>
                <a:gd name="connsiteY10" fmla="*/ 930275 h 2041525"/>
                <a:gd name="connsiteX11" fmla="*/ 555625 w 1543050"/>
                <a:gd name="connsiteY11" fmla="*/ 3175 h 2041525"/>
                <a:gd name="connsiteX0" fmla="*/ 555625 w 1543050"/>
                <a:gd name="connsiteY0" fmla="*/ 3175 h 2041525"/>
                <a:gd name="connsiteX1" fmla="*/ 422275 w 1543050"/>
                <a:gd name="connsiteY1" fmla="*/ 0 h 2041525"/>
                <a:gd name="connsiteX2" fmla="*/ 0 w 1543050"/>
                <a:gd name="connsiteY2" fmla="*/ 1873250 h 2041525"/>
                <a:gd name="connsiteX3" fmla="*/ 171450 w 1543050"/>
                <a:gd name="connsiteY3" fmla="*/ 2041525 h 2041525"/>
                <a:gd name="connsiteX4" fmla="*/ 1381125 w 1543050"/>
                <a:gd name="connsiteY4" fmla="*/ 2041525 h 2041525"/>
                <a:gd name="connsiteX5" fmla="*/ 1543050 w 1543050"/>
                <a:gd name="connsiteY5" fmla="*/ 1806575 h 2041525"/>
                <a:gd name="connsiteX6" fmla="*/ 1244600 w 1543050"/>
                <a:gd name="connsiteY6" fmla="*/ 962025 h 2041525"/>
                <a:gd name="connsiteX7" fmla="*/ 1120775 w 1543050"/>
                <a:gd name="connsiteY7" fmla="*/ 12700 h 2041525"/>
                <a:gd name="connsiteX8" fmla="*/ 996950 w 1543050"/>
                <a:gd name="connsiteY8" fmla="*/ 12700 h 2041525"/>
                <a:gd name="connsiteX9" fmla="*/ 1079500 w 1543050"/>
                <a:gd name="connsiteY9" fmla="*/ 936625 h 2041525"/>
                <a:gd name="connsiteX10" fmla="*/ 463550 w 1543050"/>
                <a:gd name="connsiteY10" fmla="*/ 930275 h 2041525"/>
                <a:gd name="connsiteX11" fmla="*/ 555625 w 1543050"/>
                <a:gd name="connsiteY11" fmla="*/ 3175 h 2041525"/>
                <a:gd name="connsiteX0" fmla="*/ 555625 w 1546413"/>
                <a:gd name="connsiteY0" fmla="*/ 3175 h 2041525"/>
                <a:gd name="connsiteX1" fmla="*/ 422275 w 1546413"/>
                <a:gd name="connsiteY1" fmla="*/ 0 h 2041525"/>
                <a:gd name="connsiteX2" fmla="*/ 0 w 1546413"/>
                <a:gd name="connsiteY2" fmla="*/ 1873250 h 2041525"/>
                <a:gd name="connsiteX3" fmla="*/ 171450 w 1546413"/>
                <a:gd name="connsiteY3" fmla="*/ 2041525 h 2041525"/>
                <a:gd name="connsiteX4" fmla="*/ 1381125 w 1546413"/>
                <a:gd name="connsiteY4" fmla="*/ 2041525 h 2041525"/>
                <a:gd name="connsiteX5" fmla="*/ 1543050 w 1546413"/>
                <a:gd name="connsiteY5" fmla="*/ 1806575 h 2041525"/>
                <a:gd name="connsiteX6" fmla="*/ 1244600 w 1546413"/>
                <a:gd name="connsiteY6" fmla="*/ 962025 h 2041525"/>
                <a:gd name="connsiteX7" fmla="*/ 1120775 w 1546413"/>
                <a:gd name="connsiteY7" fmla="*/ 12700 h 2041525"/>
                <a:gd name="connsiteX8" fmla="*/ 996950 w 1546413"/>
                <a:gd name="connsiteY8" fmla="*/ 12700 h 2041525"/>
                <a:gd name="connsiteX9" fmla="*/ 1079500 w 1546413"/>
                <a:gd name="connsiteY9" fmla="*/ 936625 h 2041525"/>
                <a:gd name="connsiteX10" fmla="*/ 463550 w 1546413"/>
                <a:gd name="connsiteY10" fmla="*/ 930275 h 2041525"/>
                <a:gd name="connsiteX11" fmla="*/ 555625 w 1546413"/>
                <a:gd name="connsiteY11" fmla="*/ 3175 h 2041525"/>
                <a:gd name="connsiteX0" fmla="*/ 557163 w 1547951"/>
                <a:gd name="connsiteY0" fmla="*/ 3175 h 2041525"/>
                <a:gd name="connsiteX1" fmla="*/ 423813 w 1547951"/>
                <a:gd name="connsiteY1" fmla="*/ 0 h 2041525"/>
                <a:gd name="connsiteX2" fmla="*/ 1538 w 1547951"/>
                <a:gd name="connsiteY2" fmla="*/ 1873250 h 2041525"/>
                <a:gd name="connsiteX3" fmla="*/ 172988 w 1547951"/>
                <a:gd name="connsiteY3" fmla="*/ 2041525 h 2041525"/>
                <a:gd name="connsiteX4" fmla="*/ 1382663 w 1547951"/>
                <a:gd name="connsiteY4" fmla="*/ 2041525 h 2041525"/>
                <a:gd name="connsiteX5" fmla="*/ 1544588 w 1547951"/>
                <a:gd name="connsiteY5" fmla="*/ 1806575 h 2041525"/>
                <a:gd name="connsiteX6" fmla="*/ 1246138 w 1547951"/>
                <a:gd name="connsiteY6" fmla="*/ 962025 h 2041525"/>
                <a:gd name="connsiteX7" fmla="*/ 1122313 w 1547951"/>
                <a:gd name="connsiteY7" fmla="*/ 12700 h 2041525"/>
                <a:gd name="connsiteX8" fmla="*/ 998488 w 1547951"/>
                <a:gd name="connsiteY8" fmla="*/ 12700 h 2041525"/>
                <a:gd name="connsiteX9" fmla="*/ 1081038 w 1547951"/>
                <a:gd name="connsiteY9" fmla="*/ 936625 h 2041525"/>
                <a:gd name="connsiteX10" fmla="*/ 465088 w 1547951"/>
                <a:gd name="connsiteY10" fmla="*/ 930275 h 2041525"/>
                <a:gd name="connsiteX11" fmla="*/ 557163 w 1547951"/>
                <a:gd name="connsiteY11" fmla="*/ 3175 h 2041525"/>
                <a:gd name="connsiteX0" fmla="*/ 557820 w 1548608"/>
                <a:gd name="connsiteY0" fmla="*/ 3175 h 2041525"/>
                <a:gd name="connsiteX1" fmla="*/ 424470 w 1548608"/>
                <a:gd name="connsiteY1" fmla="*/ 0 h 2041525"/>
                <a:gd name="connsiteX2" fmla="*/ 2195 w 1548608"/>
                <a:gd name="connsiteY2" fmla="*/ 1873250 h 2041525"/>
                <a:gd name="connsiteX3" fmla="*/ 173645 w 1548608"/>
                <a:gd name="connsiteY3" fmla="*/ 2041525 h 2041525"/>
                <a:gd name="connsiteX4" fmla="*/ 1383320 w 1548608"/>
                <a:gd name="connsiteY4" fmla="*/ 2041525 h 2041525"/>
                <a:gd name="connsiteX5" fmla="*/ 1545245 w 1548608"/>
                <a:gd name="connsiteY5" fmla="*/ 1806575 h 2041525"/>
                <a:gd name="connsiteX6" fmla="*/ 1246795 w 1548608"/>
                <a:gd name="connsiteY6" fmla="*/ 962025 h 2041525"/>
                <a:gd name="connsiteX7" fmla="*/ 1122970 w 1548608"/>
                <a:gd name="connsiteY7" fmla="*/ 12700 h 2041525"/>
                <a:gd name="connsiteX8" fmla="*/ 999145 w 1548608"/>
                <a:gd name="connsiteY8" fmla="*/ 12700 h 2041525"/>
                <a:gd name="connsiteX9" fmla="*/ 1081695 w 1548608"/>
                <a:gd name="connsiteY9" fmla="*/ 936625 h 2041525"/>
                <a:gd name="connsiteX10" fmla="*/ 465745 w 1548608"/>
                <a:gd name="connsiteY10" fmla="*/ 930275 h 2041525"/>
                <a:gd name="connsiteX11" fmla="*/ 557820 w 1548608"/>
                <a:gd name="connsiteY11" fmla="*/ 3175 h 2041525"/>
                <a:gd name="connsiteX0" fmla="*/ 557820 w 1547508"/>
                <a:gd name="connsiteY0" fmla="*/ 3175 h 2041525"/>
                <a:gd name="connsiteX1" fmla="*/ 424470 w 1547508"/>
                <a:gd name="connsiteY1" fmla="*/ 0 h 2041525"/>
                <a:gd name="connsiteX2" fmla="*/ 2195 w 1547508"/>
                <a:gd name="connsiteY2" fmla="*/ 1873250 h 2041525"/>
                <a:gd name="connsiteX3" fmla="*/ 173645 w 1547508"/>
                <a:gd name="connsiteY3" fmla="*/ 2041525 h 2041525"/>
                <a:gd name="connsiteX4" fmla="*/ 1383320 w 1547508"/>
                <a:gd name="connsiteY4" fmla="*/ 2041525 h 2041525"/>
                <a:gd name="connsiteX5" fmla="*/ 1545245 w 1547508"/>
                <a:gd name="connsiteY5" fmla="*/ 1806575 h 2041525"/>
                <a:gd name="connsiteX6" fmla="*/ 1246795 w 1547508"/>
                <a:gd name="connsiteY6" fmla="*/ 962025 h 2041525"/>
                <a:gd name="connsiteX7" fmla="*/ 1122970 w 1547508"/>
                <a:gd name="connsiteY7" fmla="*/ 12700 h 2041525"/>
                <a:gd name="connsiteX8" fmla="*/ 999145 w 1547508"/>
                <a:gd name="connsiteY8" fmla="*/ 12700 h 2041525"/>
                <a:gd name="connsiteX9" fmla="*/ 1081695 w 1547508"/>
                <a:gd name="connsiteY9" fmla="*/ 936625 h 2041525"/>
                <a:gd name="connsiteX10" fmla="*/ 465745 w 1547508"/>
                <a:gd name="connsiteY10" fmla="*/ 930275 h 2041525"/>
                <a:gd name="connsiteX11" fmla="*/ 557820 w 1547508"/>
                <a:gd name="connsiteY11" fmla="*/ 3175 h 204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7508" h="2041525">
                  <a:moveTo>
                    <a:pt x="557820" y="3175"/>
                  </a:moveTo>
                  <a:lnTo>
                    <a:pt x="424470" y="0"/>
                  </a:lnTo>
                  <a:cubicBezTo>
                    <a:pt x="486912" y="795867"/>
                    <a:pt x="184228" y="1204383"/>
                    <a:pt x="2195" y="1873250"/>
                  </a:cubicBezTo>
                  <a:cubicBezTo>
                    <a:pt x="-10505" y="1940454"/>
                    <a:pt x="29976" y="2035439"/>
                    <a:pt x="173645" y="2041525"/>
                  </a:cubicBezTo>
                  <a:lnTo>
                    <a:pt x="1383320" y="2041525"/>
                  </a:lnTo>
                  <a:cubicBezTo>
                    <a:pt x="1492064" y="2017977"/>
                    <a:pt x="1561120" y="1948392"/>
                    <a:pt x="1545245" y="1806575"/>
                  </a:cubicBezTo>
                  <a:cubicBezTo>
                    <a:pt x="1496562" y="1635125"/>
                    <a:pt x="1333049" y="1194329"/>
                    <a:pt x="1246795" y="962025"/>
                  </a:cubicBezTo>
                  <a:cubicBezTo>
                    <a:pt x="1106566" y="609071"/>
                    <a:pt x="1134083" y="189971"/>
                    <a:pt x="1122970" y="12700"/>
                  </a:cubicBezTo>
                  <a:lnTo>
                    <a:pt x="999145" y="12700"/>
                  </a:lnTo>
                  <a:cubicBezTo>
                    <a:pt x="1004966" y="176212"/>
                    <a:pt x="961045" y="701146"/>
                    <a:pt x="1081695" y="936625"/>
                  </a:cubicBezTo>
                  <a:lnTo>
                    <a:pt x="465745" y="930275"/>
                  </a:lnTo>
                  <a:cubicBezTo>
                    <a:pt x="581103" y="772583"/>
                    <a:pt x="567874" y="183621"/>
                    <a:pt x="557820" y="3175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698">
                <a:defRPr/>
              </a:pPr>
              <a:endParaRPr lang="en-IN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3" name="Rounded Rectangle 20"/>
            <p:cNvSpPr/>
            <p:nvPr/>
          </p:nvSpPr>
          <p:spPr>
            <a:xfrm>
              <a:off x="9157704" y="3537266"/>
              <a:ext cx="946824" cy="263525"/>
            </a:xfrm>
            <a:prstGeom prst="roundRect">
              <a:avLst>
                <a:gd name="adj" fmla="val 21666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698">
                <a:defRPr/>
              </a:pPr>
              <a:endParaRPr lang="en-IN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4" name="Freeform 21"/>
            <p:cNvSpPr/>
            <p:nvPr/>
          </p:nvSpPr>
          <p:spPr>
            <a:xfrm>
              <a:off x="7089322" y="2425771"/>
              <a:ext cx="1793873" cy="629817"/>
            </a:xfrm>
            <a:custGeom>
              <a:avLst/>
              <a:gdLst>
                <a:gd name="connsiteX0" fmla="*/ 1199486 w 1793873"/>
                <a:gd name="connsiteY0" fmla="*/ 158945 h 629817"/>
                <a:gd name="connsiteX1" fmla="*/ 1199486 w 1793873"/>
                <a:gd name="connsiteY1" fmla="*/ 508195 h 629817"/>
                <a:gd name="connsiteX2" fmla="*/ 1637636 w 1793873"/>
                <a:gd name="connsiteY2" fmla="*/ 508195 h 629817"/>
                <a:gd name="connsiteX3" fmla="*/ 1637636 w 1793873"/>
                <a:gd name="connsiteY3" fmla="*/ 158945 h 629817"/>
                <a:gd name="connsiteX4" fmla="*/ 151165 w 1793873"/>
                <a:gd name="connsiteY4" fmla="*/ 158945 h 629817"/>
                <a:gd name="connsiteX5" fmla="*/ 151165 w 1793873"/>
                <a:gd name="connsiteY5" fmla="*/ 508195 h 629817"/>
                <a:gd name="connsiteX6" fmla="*/ 589315 w 1793873"/>
                <a:gd name="connsiteY6" fmla="*/ 508195 h 629817"/>
                <a:gd name="connsiteX7" fmla="*/ 589315 w 1793873"/>
                <a:gd name="connsiteY7" fmla="*/ 158945 h 629817"/>
                <a:gd name="connsiteX8" fmla="*/ 170284 w 1793873"/>
                <a:gd name="connsiteY8" fmla="*/ 0 h 629817"/>
                <a:gd name="connsiteX9" fmla="*/ 571500 w 1793873"/>
                <a:gd name="connsiteY9" fmla="*/ 0 h 629817"/>
                <a:gd name="connsiteX10" fmla="*/ 580706 w 1793873"/>
                <a:gd name="connsiteY10" fmla="*/ 1859 h 629817"/>
                <a:gd name="connsiteX11" fmla="*/ 580706 w 1793873"/>
                <a:gd name="connsiteY11" fmla="*/ 0 h 629817"/>
                <a:gd name="connsiteX12" fmla="*/ 1222373 w 1793873"/>
                <a:gd name="connsiteY12" fmla="*/ 0 h 629817"/>
                <a:gd name="connsiteX13" fmla="*/ 1257524 w 1793873"/>
                <a:gd name="connsiteY13" fmla="*/ 0 h 629817"/>
                <a:gd name="connsiteX14" fmla="*/ 1623589 w 1793873"/>
                <a:gd name="connsiteY14" fmla="*/ 0 h 629817"/>
                <a:gd name="connsiteX15" fmla="*/ 1793873 w 1793873"/>
                <a:gd name="connsiteY15" fmla="*/ 170284 h 629817"/>
                <a:gd name="connsiteX16" fmla="*/ 1793873 w 1793873"/>
                <a:gd name="connsiteY16" fmla="*/ 459533 h 629817"/>
                <a:gd name="connsiteX17" fmla="*/ 1623589 w 1793873"/>
                <a:gd name="connsiteY17" fmla="*/ 629817 h 629817"/>
                <a:gd name="connsiteX18" fmla="*/ 1222373 w 1793873"/>
                <a:gd name="connsiteY18" fmla="*/ 629817 h 629817"/>
                <a:gd name="connsiteX19" fmla="*/ 1052089 w 1793873"/>
                <a:gd name="connsiteY19" fmla="*/ 459533 h 629817"/>
                <a:gd name="connsiteX20" fmla="*/ 1052089 w 1793873"/>
                <a:gd name="connsiteY20" fmla="*/ 269867 h 629817"/>
                <a:gd name="connsiteX21" fmla="*/ 1019448 w 1793873"/>
                <a:gd name="connsiteY21" fmla="*/ 238597 h 629817"/>
                <a:gd name="connsiteX22" fmla="*/ 772480 w 1793873"/>
                <a:gd name="connsiteY22" fmla="*/ 239651 h 629817"/>
                <a:gd name="connsiteX23" fmla="*/ 741784 w 1793873"/>
                <a:gd name="connsiteY23" fmla="*/ 272720 h 629817"/>
                <a:gd name="connsiteX24" fmla="*/ 741784 w 1793873"/>
                <a:gd name="connsiteY24" fmla="*/ 459533 h 629817"/>
                <a:gd name="connsiteX25" fmla="*/ 571500 w 1793873"/>
                <a:gd name="connsiteY25" fmla="*/ 629817 h 629817"/>
                <a:gd name="connsiteX26" fmla="*/ 170284 w 1793873"/>
                <a:gd name="connsiteY26" fmla="*/ 629817 h 629817"/>
                <a:gd name="connsiteX27" fmla="*/ 0 w 1793873"/>
                <a:gd name="connsiteY27" fmla="*/ 459533 h 629817"/>
                <a:gd name="connsiteX28" fmla="*/ 0 w 1793873"/>
                <a:gd name="connsiteY28" fmla="*/ 170284 h 629817"/>
                <a:gd name="connsiteX29" fmla="*/ 170284 w 1793873"/>
                <a:gd name="connsiteY29" fmla="*/ 0 h 62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93873" h="629817">
                  <a:moveTo>
                    <a:pt x="1199486" y="158945"/>
                  </a:moveTo>
                  <a:lnTo>
                    <a:pt x="1199486" y="508195"/>
                  </a:lnTo>
                  <a:lnTo>
                    <a:pt x="1637636" y="508195"/>
                  </a:lnTo>
                  <a:lnTo>
                    <a:pt x="1637636" y="158945"/>
                  </a:lnTo>
                  <a:close/>
                  <a:moveTo>
                    <a:pt x="151165" y="158945"/>
                  </a:moveTo>
                  <a:lnTo>
                    <a:pt x="151165" y="508195"/>
                  </a:lnTo>
                  <a:lnTo>
                    <a:pt x="589315" y="508195"/>
                  </a:lnTo>
                  <a:lnTo>
                    <a:pt x="589315" y="158945"/>
                  </a:lnTo>
                  <a:close/>
                  <a:moveTo>
                    <a:pt x="170284" y="0"/>
                  </a:moveTo>
                  <a:lnTo>
                    <a:pt x="571500" y="0"/>
                  </a:lnTo>
                  <a:lnTo>
                    <a:pt x="580706" y="1859"/>
                  </a:lnTo>
                  <a:lnTo>
                    <a:pt x="580706" y="0"/>
                  </a:lnTo>
                  <a:lnTo>
                    <a:pt x="1222373" y="0"/>
                  </a:lnTo>
                  <a:lnTo>
                    <a:pt x="1257524" y="0"/>
                  </a:lnTo>
                  <a:lnTo>
                    <a:pt x="1623589" y="0"/>
                  </a:lnTo>
                  <a:cubicBezTo>
                    <a:pt x="1717634" y="0"/>
                    <a:pt x="1793873" y="76239"/>
                    <a:pt x="1793873" y="170284"/>
                  </a:cubicBezTo>
                  <a:lnTo>
                    <a:pt x="1793873" y="459533"/>
                  </a:lnTo>
                  <a:cubicBezTo>
                    <a:pt x="1793873" y="553578"/>
                    <a:pt x="1717634" y="629817"/>
                    <a:pt x="1623589" y="629817"/>
                  </a:cubicBezTo>
                  <a:lnTo>
                    <a:pt x="1222373" y="629817"/>
                  </a:lnTo>
                  <a:cubicBezTo>
                    <a:pt x="1128328" y="629817"/>
                    <a:pt x="1052089" y="553578"/>
                    <a:pt x="1052089" y="459533"/>
                  </a:cubicBezTo>
                  <a:lnTo>
                    <a:pt x="1052089" y="269867"/>
                  </a:lnTo>
                  <a:lnTo>
                    <a:pt x="1019448" y="238597"/>
                  </a:lnTo>
                  <a:cubicBezTo>
                    <a:pt x="940178" y="175104"/>
                    <a:pt x="842604" y="178661"/>
                    <a:pt x="772480" y="239651"/>
                  </a:cubicBezTo>
                  <a:lnTo>
                    <a:pt x="741784" y="272720"/>
                  </a:lnTo>
                  <a:lnTo>
                    <a:pt x="741784" y="459533"/>
                  </a:lnTo>
                  <a:cubicBezTo>
                    <a:pt x="741784" y="553578"/>
                    <a:pt x="665545" y="629817"/>
                    <a:pt x="571500" y="629817"/>
                  </a:cubicBezTo>
                  <a:lnTo>
                    <a:pt x="170284" y="629817"/>
                  </a:lnTo>
                  <a:cubicBezTo>
                    <a:pt x="76239" y="629817"/>
                    <a:pt x="0" y="553578"/>
                    <a:pt x="0" y="459533"/>
                  </a:cubicBezTo>
                  <a:lnTo>
                    <a:pt x="0" y="170284"/>
                  </a:lnTo>
                  <a:cubicBezTo>
                    <a:pt x="0" y="76239"/>
                    <a:pt x="76239" y="0"/>
                    <a:pt x="170284" y="0"/>
                  </a:cubicBezTo>
                  <a:close/>
                </a:path>
              </a:pathLst>
            </a:cu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698">
                <a:defRPr/>
              </a:pPr>
              <a:endParaRPr lang="en-IN" kern="0">
                <a:solidFill>
                  <a:prstClr val="white"/>
                </a:solidFill>
                <a:latin typeface="+mj-lt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408636" y="5014304"/>
            <a:ext cx="2162270" cy="237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3698">
              <a:defRPr/>
            </a:pPr>
            <a:r>
              <a:rPr lang="en-US" sz="1400" kern="0" dirty="0">
                <a:solidFill>
                  <a:schemeClr val="accent1"/>
                </a:solidFill>
                <a:latin typeface="+mj-lt"/>
                <a:cs typeface="Segoe UI Semibold" panose="020B0702040204020203" pitchFamily="34" charset="0"/>
              </a:rPr>
              <a:t>Data Analyst/DB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08636" y="5267999"/>
            <a:ext cx="2162270" cy="4569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3698">
              <a:defRPr/>
            </a:pPr>
            <a:r>
              <a:rPr lang="en-US" sz="1200" kern="0" dirty="0">
                <a:solidFill>
                  <a:sysClr val="windowText" lastClr="000000"/>
                </a:solidFill>
                <a:latin typeface="+mj-lt"/>
                <a:cs typeface="Segoe UI" panose="020B0502040204020203" pitchFamily="34" charset="0"/>
              </a:rPr>
              <a:t>Manages data and </a:t>
            </a:r>
          </a:p>
          <a:p>
            <a:pPr algn="ctr" defTabSz="913698">
              <a:defRPr/>
            </a:pPr>
            <a:r>
              <a:rPr lang="en-US" sz="1200" kern="0" dirty="0">
                <a:solidFill>
                  <a:sysClr val="windowText" lastClr="000000"/>
                </a:solidFill>
                <a:latin typeface="+mj-lt"/>
                <a:cs typeface="Segoe UI" panose="020B0502040204020203" pitchFamily="34" charset="0"/>
              </a:rPr>
              <a:t>analytics together</a:t>
            </a:r>
          </a:p>
        </p:txBody>
      </p:sp>
      <p:grpSp>
        <p:nvGrpSpPr>
          <p:cNvPr id="17" name="Group 16"/>
          <p:cNvGrpSpPr>
            <a:grpSpLocks noChangeAspect="1"/>
          </p:cNvGrpSpPr>
          <p:nvPr/>
        </p:nvGrpSpPr>
        <p:grpSpPr>
          <a:xfrm>
            <a:off x="1147384" y="4398445"/>
            <a:ext cx="562345" cy="582426"/>
            <a:chOff x="3807371" y="2914650"/>
            <a:chExt cx="637629" cy="660397"/>
          </a:xfrm>
          <a:solidFill>
            <a:schemeClr val="accent2"/>
          </a:solidFill>
        </p:grpSpPr>
        <p:sp>
          <p:nvSpPr>
            <p:cNvPr id="18" name="Oval 17"/>
            <p:cNvSpPr/>
            <p:nvPr/>
          </p:nvSpPr>
          <p:spPr>
            <a:xfrm>
              <a:off x="4054475" y="2914650"/>
              <a:ext cx="273050" cy="273050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698">
                <a:defRPr/>
              </a:pPr>
              <a:endParaRPr lang="en-IN" kern="0">
                <a:solidFill>
                  <a:srgbClr val="505050"/>
                </a:solidFill>
                <a:latin typeface="+mj-lt"/>
              </a:endParaRPr>
            </a:p>
          </p:txBody>
        </p:sp>
        <p:sp>
          <p:nvSpPr>
            <p:cNvPr id="19" name="Freeform 26"/>
            <p:cNvSpPr/>
            <p:nvPr/>
          </p:nvSpPr>
          <p:spPr>
            <a:xfrm>
              <a:off x="3888313" y="3201605"/>
              <a:ext cx="556687" cy="373442"/>
            </a:xfrm>
            <a:custGeom>
              <a:avLst/>
              <a:gdLst>
                <a:gd name="connsiteX0" fmla="*/ 34925 w 558800"/>
                <a:gd name="connsiteY0" fmla="*/ 266700 h 371475"/>
                <a:gd name="connsiteX1" fmla="*/ 203200 w 558800"/>
                <a:gd name="connsiteY1" fmla="*/ 250825 h 371475"/>
                <a:gd name="connsiteX2" fmla="*/ 260350 w 558800"/>
                <a:gd name="connsiteY2" fmla="*/ 73025 h 371475"/>
                <a:gd name="connsiteX3" fmla="*/ 320675 w 558800"/>
                <a:gd name="connsiteY3" fmla="*/ 15875 h 371475"/>
                <a:gd name="connsiteX4" fmla="*/ 419100 w 558800"/>
                <a:gd name="connsiteY4" fmla="*/ 0 h 371475"/>
                <a:gd name="connsiteX5" fmla="*/ 501650 w 558800"/>
                <a:gd name="connsiteY5" fmla="*/ 44450 h 371475"/>
                <a:gd name="connsiteX6" fmla="*/ 536575 w 558800"/>
                <a:gd name="connsiteY6" fmla="*/ 98425 h 371475"/>
                <a:gd name="connsiteX7" fmla="*/ 558800 w 558800"/>
                <a:gd name="connsiteY7" fmla="*/ 346075 h 371475"/>
                <a:gd name="connsiteX8" fmla="*/ 349250 w 558800"/>
                <a:gd name="connsiteY8" fmla="*/ 355600 h 371475"/>
                <a:gd name="connsiteX9" fmla="*/ 346075 w 558800"/>
                <a:gd name="connsiteY9" fmla="*/ 349250 h 371475"/>
                <a:gd name="connsiteX10" fmla="*/ 415925 w 558800"/>
                <a:gd name="connsiteY10" fmla="*/ 196850 h 371475"/>
                <a:gd name="connsiteX11" fmla="*/ 412750 w 558800"/>
                <a:gd name="connsiteY11" fmla="*/ 184150 h 371475"/>
                <a:gd name="connsiteX12" fmla="*/ 381000 w 558800"/>
                <a:gd name="connsiteY12" fmla="*/ 187325 h 371475"/>
                <a:gd name="connsiteX13" fmla="*/ 301625 w 558800"/>
                <a:gd name="connsiteY13" fmla="*/ 365125 h 371475"/>
                <a:gd name="connsiteX14" fmla="*/ 28575 w 558800"/>
                <a:gd name="connsiteY14" fmla="*/ 371475 h 371475"/>
                <a:gd name="connsiteX15" fmla="*/ 0 w 558800"/>
                <a:gd name="connsiteY15" fmla="*/ 336550 h 371475"/>
                <a:gd name="connsiteX16" fmla="*/ 34925 w 558800"/>
                <a:gd name="connsiteY16" fmla="*/ 266700 h 371475"/>
                <a:gd name="connsiteX0" fmla="*/ 34925 w 558800"/>
                <a:gd name="connsiteY0" fmla="*/ 266700 h 371475"/>
                <a:gd name="connsiteX1" fmla="*/ 203200 w 558800"/>
                <a:gd name="connsiteY1" fmla="*/ 250825 h 371475"/>
                <a:gd name="connsiteX2" fmla="*/ 260350 w 558800"/>
                <a:gd name="connsiteY2" fmla="*/ 73025 h 371475"/>
                <a:gd name="connsiteX3" fmla="*/ 419100 w 558800"/>
                <a:gd name="connsiteY3" fmla="*/ 0 h 371475"/>
                <a:gd name="connsiteX4" fmla="*/ 501650 w 558800"/>
                <a:gd name="connsiteY4" fmla="*/ 44450 h 371475"/>
                <a:gd name="connsiteX5" fmla="*/ 536575 w 558800"/>
                <a:gd name="connsiteY5" fmla="*/ 98425 h 371475"/>
                <a:gd name="connsiteX6" fmla="*/ 558800 w 558800"/>
                <a:gd name="connsiteY6" fmla="*/ 346075 h 371475"/>
                <a:gd name="connsiteX7" fmla="*/ 349250 w 558800"/>
                <a:gd name="connsiteY7" fmla="*/ 355600 h 371475"/>
                <a:gd name="connsiteX8" fmla="*/ 346075 w 558800"/>
                <a:gd name="connsiteY8" fmla="*/ 349250 h 371475"/>
                <a:gd name="connsiteX9" fmla="*/ 415925 w 558800"/>
                <a:gd name="connsiteY9" fmla="*/ 196850 h 371475"/>
                <a:gd name="connsiteX10" fmla="*/ 412750 w 558800"/>
                <a:gd name="connsiteY10" fmla="*/ 184150 h 371475"/>
                <a:gd name="connsiteX11" fmla="*/ 381000 w 558800"/>
                <a:gd name="connsiteY11" fmla="*/ 187325 h 371475"/>
                <a:gd name="connsiteX12" fmla="*/ 301625 w 558800"/>
                <a:gd name="connsiteY12" fmla="*/ 365125 h 371475"/>
                <a:gd name="connsiteX13" fmla="*/ 28575 w 558800"/>
                <a:gd name="connsiteY13" fmla="*/ 371475 h 371475"/>
                <a:gd name="connsiteX14" fmla="*/ 0 w 558800"/>
                <a:gd name="connsiteY14" fmla="*/ 336550 h 371475"/>
                <a:gd name="connsiteX15" fmla="*/ 34925 w 558800"/>
                <a:gd name="connsiteY15" fmla="*/ 266700 h 371475"/>
                <a:gd name="connsiteX0" fmla="*/ 34925 w 558800"/>
                <a:gd name="connsiteY0" fmla="*/ 222250 h 327025"/>
                <a:gd name="connsiteX1" fmla="*/ 203200 w 558800"/>
                <a:gd name="connsiteY1" fmla="*/ 206375 h 327025"/>
                <a:gd name="connsiteX2" fmla="*/ 260350 w 558800"/>
                <a:gd name="connsiteY2" fmla="*/ 28575 h 327025"/>
                <a:gd name="connsiteX3" fmla="*/ 501650 w 558800"/>
                <a:gd name="connsiteY3" fmla="*/ 0 h 327025"/>
                <a:gd name="connsiteX4" fmla="*/ 536575 w 558800"/>
                <a:gd name="connsiteY4" fmla="*/ 53975 h 327025"/>
                <a:gd name="connsiteX5" fmla="*/ 558800 w 558800"/>
                <a:gd name="connsiteY5" fmla="*/ 301625 h 327025"/>
                <a:gd name="connsiteX6" fmla="*/ 349250 w 558800"/>
                <a:gd name="connsiteY6" fmla="*/ 311150 h 327025"/>
                <a:gd name="connsiteX7" fmla="*/ 346075 w 558800"/>
                <a:gd name="connsiteY7" fmla="*/ 304800 h 327025"/>
                <a:gd name="connsiteX8" fmla="*/ 415925 w 558800"/>
                <a:gd name="connsiteY8" fmla="*/ 152400 h 327025"/>
                <a:gd name="connsiteX9" fmla="*/ 412750 w 558800"/>
                <a:gd name="connsiteY9" fmla="*/ 139700 h 327025"/>
                <a:gd name="connsiteX10" fmla="*/ 381000 w 558800"/>
                <a:gd name="connsiteY10" fmla="*/ 142875 h 327025"/>
                <a:gd name="connsiteX11" fmla="*/ 301625 w 558800"/>
                <a:gd name="connsiteY11" fmla="*/ 320675 h 327025"/>
                <a:gd name="connsiteX12" fmla="*/ 28575 w 558800"/>
                <a:gd name="connsiteY12" fmla="*/ 327025 h 327025"/>
                <a:gd name="connsiteX13" fmla="*/ 0 w 558800"/>
                <a:gd name="connsiteY13" fmla="*/ 292100 h 327025"/>
                <a:gd name="connsiteX14" fmla="*/ 34925 w 558800"/>
                <a:gd name="connsiteY14" fmla="*/ 222250 h 327025"/>
                <a:gd name="connsiteX0" fmla="*/ 34925 w 558800"/>
                <a:gd name="connsiteY0" fmla="*/ 246288 h 351063"/>
                <a:gd name="connsiteX1" fmla="*/ 203200 w 558800"/>
                <a:gd name="connsiteY1" fmla="*/ 230413 h 351063"/>
                <a:gd name="connsiteX2" fmla="*/ 260350 w 558800"/>
                <a:gd name="connsiteY2" fmla="*/ 52613 h 351063"/>
                <a:gd name="connsiteX3" fmla="*/ 501650 w 558800"/>
                <a:gd name="connsiteY3" fmla="*/ 24038 h 351063"/>
                <a:gd name="connsiteX4" fmla="*/ 536575 w 558800"/>
                <a:gd name="connsiteY4" fmla="*/ 78013 h 351063"/>
                <a:gd name="connsiteX5" fmla="*/ 558800 w 558800"/>
                <a:gd name="connsiteY5" fmla="*/ 325663 h 351063"/>
                <a:gd name="connsiteX6" fmla="*/ 349250 w 558800"/>
                <a:gd name="connsiteY6" fmla="*/ 335188 h 351063"/>
                <a:gd name="connsiteX7" fmla="*/ 346075 w 558800"/>
                <a:gd name="connsiteY7" fmla="*/ 328838 h 351063"/>
                <a:gd name="connsiteX8" fmla="*/ 415925 w 558800"/>
                <a:gd name="connsiteY8" fmla="*/ 176438 h 351063"/>
                <a:gd name="connsiteX9" fmla="*/ 412750 w 558800"/>
                <a:gd name="connsiteY9" fmla="*/ 163738 h 351063"/>
                <a:gd name="connsiteX10" fmla="*/ 381000 w 558800"/>
                <a:gd name="connsiteY10" fmla="*/ 166913 h 351063"/>
                <a:gd name="connsiteX11" fmla="*/ 301625 w 558800"/>
                <a:gd name="connsiteY11" fmla="*/ 344713 h 351063"/>
                <a:gd name="connsiteX12" fmla="*/ 28575 w 558800"/>
                <a:gd name="connsiteY12" fmla="*/ 351063 h 351063"/>
                <a:gd name="connsiteX13" fmla="*/ 0 w 558800"/>
                <a:gd name="connsiteY13" fmla="*/ 316138 h 351063"/>
                <a:gd name="connsiteX14" fmla="*/ 34925 w 558800"/>
                <a:gd name="connsiteY14" fmla="*/ 246288 h 351063"/>
                <a:gd name="connsiteX0" fmla="*/ 34925 w 558800"/>
                <a:gd name="connsiteY0" fmla="*/ 263928 h 368703"/>
                <a:gd name="connsiteX1" fmla="*/ 203200 w 558800"/>
                <a:gd name="connsiteY1" fmla="*/ 248053 h 368703"/>
                <a:gd name="connsiteX2" fmla="*/ 260350 w 558800"/>
                <a:gd name="connsiteY2" fmla="*/ 70253 h 368703"/>
                <a:gd name="connsiteX3" fmla="*/ 501650 w 558800"/>
                <a:gd name="connsiteY3" fmla="*/ 41678 h 368703"/>
                <a:gd name="connsiteX4" fmla="*/ 536575 w 558800"/>
                <a:gd name="connsiteY4" fmla="*/ 95653 h 368703"/>
                <a:gd name="connsiteX5" fmla="*/ 558800 w 558800"/>
                <a:gd name="connsiteY5" fmla="*/ 343303 h 368703"/>
                <a:gd name="connsiteX6" fmla="*/ 349250 w 558800"/>
                <a:gd name="connsiteY6" fmla="*/ 352828 h 368703"/>
                <a:gd name="connsiteX7" fmla="*/ 346075 w 558800"/>
                <a:gd name="connsiteY7" fmla="*/ 346478 h 368703"/>
                <a:gd name="connsiteX8" fmla="*/ 415925 w 558800"/>
                <a:gd name="connsiteY8" fmla="*/ 194078 h 368703"/>
                <a:gd name="connsiteX9" fmla="*/ 412750 w 558800"/>
                <a:gd name="connsiteY9" fmla="*/ 181378 h 368703"/>
                <a:gd name="connsiteX10" fmla="*/ 381000 w 558800"/>
                <a:gd name="connsiteY10" fmla="*/ 184553 h 368703"/>
                <a:gd name="connsiteX11" fmla="*/ 301625 w 558800"/>
                <a:gd name="connsiteY11" fmla="*/ 362353 h 368703"/>
                <a:gd name="connsiteX12" fmla="*/ 28575 w 558800"/>
                <a:gd name="connsiteY12" fmla="*/ 368703 h 368703"/>
                <a:gd name="connsiteX13" fmla="*/ 0 w 558800"/>
                <a:gd name="connsiteY13" fmla="*/ 333778 h 368703"/>
                <a:gd name="connsiteX14" fmla="*/ 34925 w 558800"/>
                <a:gd name="connsiteY14" fmla="*/ 263928 h 368703"/>
                <a:gd name="connsiteX0" fmla="*/ 34925 w 558800"/>
                <a:gd name="connsiteY0" fmla="*/ 263928 h 368703"/>
                <a:gd name="connsiteX1" fmla="*/ 203200 w 558800"/>
                <a:gd name="connsiteY1" fmla="*/ 248053 h 368703"/>
                <a:gd name="connsiteX2" fmla="*/ 260350 w 558800"/>
                <a:gd name="connsiteY2" fmla="*/ 70253 h 368703"/>
                <a:gd name="connsiteX3" fmla="*/ 501650 w 558800"/>
                <a:gd name="connsiteY3" fmla="*/ 41678 h 368703"/>
                <a:gd name="connsiteX4" fmla="*/ 558800 w 558800"/>
                <a:gd name="connsiteY4" fmla="*/ 343303 h 368703"/>
                <a:gd name="connsiteX5" fmla="*/ 349250 w 558800"/>
                <a:gd name="connsiteY5" fmla="*/ 352828 h 368703"/>
                <a:gd name="connsiteX6" fmla="*/ 346075 w 558800"/>
                <a:gd name="connsiteY6" fmla="*/ 346478 h 368703"/>
                <a:gd name="connsiteX7" fmla="*/ 415925 w 558800"/>
                <a:gd name="connsiteY7" fmla="*/ 194078 h 368703"/>
                <a:gd name="connsiteX8" fmla="*/ 412750 w 558800"/>
                <a:gd name="connsiteY8" fmla="*/ 181378 h 368703"/>
                <a:gd name="connsiteX9" fmla="*/ 381000 w 558800"/>
                <a:gd name="connsiteY9" fmla="*/ 184553 h 368703"/>
                <a:gd name="connsiteX10" fmla="*/ 301625 w 558800"/>
                <a:gd name="connsiteY10" fmla="*/ 362353 h 368703"/>
                <a:gd name="connsiteX11" fmla="*/ 28575 w 558800"/>
                <a:gd name="connsiteY11" fmla="*/ 368703 h 368703"/>
                <a:gd name="connsiteX12" fmla="*/ 0 w 558800"/>
                <a:gd name="connsiteY12" fmla="*/ 333778 h 368703"/>
                <a:gd name="connsiteX13" fmla="*/ 34925 w 558800"/>
                <a:gd name="connsiteY13" fmla="*/ 263928 h 368703"/>
                <a:gd name="connsiteX0" fmla="*/ 34925 w 558800"/>
                <a:gd name="connsiteY0" fmla="*/ 263928 h 368703"/>
                <a:gd name="connsiteX1" fmla="*/ 203200 w 558800"/>
                <a:gd name="connsiteY1" fmla="*/ 248053 h 368703"/>
                <a:gd name="connsiteX2" fmla="*/ 260350 w 558800"/>
                <a:gd name="connsiteY2" fmla="*/ 70253 h 368703"/>
                <a:gd name="connsiteX3" fmla="*/ 501650 w 558800"/>
                <a:gd name="connsiteY3" fmla="*/ 41678 h 368703"/>
                <a:gd name="connsiteX4" fmla="*/ 558800 w 558800"/>
                <a:gd name="connsiteY4" fmla="*/ 343303 h 368703"/>
                <a:gd name="connsiteX5" fmla="*/ 349250 w 558800"/>
                <a:gd name="connsiteY5" fmla="*/ 352828 h 368703"/>
                <a:gd name="connsiteX6" fmla="*/ 346075 w 558800"/>
                <a:gd name="connsiteY6" fmla="*/ 346478 h 368703"/>
                <a:gd name="connsiteX7" fmla="*/ 415925 w 558800"/>
                <a:gd name="connsiteY7" fmla="*/ 194078 h 368703"/>
                <a:gd name="connsiteX8" fmla="*/ 412750 w 558800"/>
                <a:gd name="connsiteY8" fmla="*/ 181378 h 368703"/>
                <a:gd name="connsiteX9" fmla="*/ 381000 w 558800"/>
                <a:gd name="connsiteY9" fmla="*/ 184553 h 368703"/>
                <a:gd name="connsiteX10" fmla="*/ 301625 w 558800"/>
                <a:gd name="connsiteY10" fmla="*/ 362353 h 368703"/>
                <a:gd name="connsiteX11" fmla="*/ 28575 w 558800"/>
                <a:gd name="connsiteY11" fmla="*/ 368703 h 368703"/>
                <a:gd name="connsiteX12" fmla="*/ 0 w 558800"/>
                <a:gd name="connsiteY12" fmla="*/ 333778 h 368703"/>
                <a:gd name="connsiteX13" fmla="*/ 34925 w 558800"/>
                <a:gd name="connsiteY13" fmla="*/ 263928 h 368703"/>
                <a:gd name="connsiteX0" fmla="*/ 34925 w 558800"/>
                <a:gd name="connsiteY0" fmla="*/ 263928 h 368703"/>
                <a:gd name="connsiteX1" fmla="*/ 203200 w 558800"/>
                <a:gd name="connsiteY1" fmla="*/ 248053 h 368703"/>
                <a:gd name="connsiteX2" fmla="*/ 260350 w 558800"/>
                <a:gd name="connsiteY2" fmla="*/ 70253 h 368703"/>
                <a:gd name="connsiteX3" fmla="*/ 501650 w 558800"/>
                <a:gd name="connsiteY3" fmla="*/ 41678 h 368703"/>
                <a:gd name="connsiteX4" fmla="*/ 558800 w 558800"/>
                <a:gd name="connsiteY4" fmla="*/ 343303 h 368703"/>
                <a:gd name="connsiteX5" fmla="*/ 349250 w 558800"/>
                <a:gd name="connsiteY5" fmla="*/ 352828 h 368703"/>
                <a:gd name="connsiteX6" fmla="*/ 346075 w 558800"/>
                <a:gd name="connsiteY6" fmla="*/ 346478 h 368703"/>
                <a:gd name="connsiteX7" fmla="*/ 415925 w 558800"/>
                <a:gd name="connsiteY7" fmla="*/ 194078 h 368703"/>
                <a:gd name="connsiteX8" fmla="*/ 412750 w 558800"/>
                <a:gd name="connsiteY8" fmla="*/ 181378 h 368703"/>
                <a:gd name="connsiteX9" fmla="*/ 381000 w 558800"/>
                <a:gd name="connsiteY9" fmla="*/ 184553 h 368703"/>
                <a:gd name="connsiteX10" fmla="*/ 301625 w 558800"/>
                <a:gd name="connsiteY10" fmla="*/ 362353 h 368703"/>
                <a:gd name="connsiteX11" fmla="*/ 28575 w 558800"/>
                <a:gd name="connsiteY11" fmla="*/ 368703 h 368703"/>
                <a:gd name="connsiteX12" fmla="*/ 0 w 558800"/>
                <a:gd name="connsiteY12" fmla="*/ 333778 h 368703"/>
                <a:gd name="connsiteX13" fmla="*/ 34925 w 558800"/>
                <a:gd name="connsiteY13" fmla="*/ 263928 h 368703"/>
                <a:gd name="connsiteX0" fmla="*/ 34925 w 558800"/>
                <a:gd name="connsiteY0" fmla="*/ 263928 h 368703"/>
                <a:gd name="connsiteX1" fmla="*/ 203200 w 558800"/>
                <a:gd name="connsiteY1" fmla="*/ 248053 h 368703"/>
                <a:gd name="connsiteX2" fmla="*/ 260350 w 558800"/>
                <a:gd name="connsiteY2" fmla="*/ 70253 h 368703"/>
                <a:gd name="connsiteX3" fmla="*/ 501650 w 558800"/>
                <a:gd name="connsiteY3" fmla="*/ 41678 h 368703"/>
                <a:gd name="connsiteX4" fmla="*/ 558800 w 558800"/>
                <a:gd name="connsiteY4" fmla="*/ 343303 h 368703"/>
                <a:gd name="connsiteX5" fmla="*/ 349250 w 558800"/>
                <a:gd name="connsiteY5" fmla="*/ 352828 h 368703"/>
                <a:gd name="connsiteX6" fmla="*/ 346075 w 558800"/>
                <a:gd name="connsiteY6" fmla="*/ 346478 h 368703"/>
                <a:gd name="connsiteX7" fmla="*/ 415925 w 558800"/>
                <a:gd name="connsiteY7" fmla="*/ 194078 h 368703"/>
                <a:gd name="connsiteX8" fmla="*/ 381000 w 558800"/>
                <a:gd name="connsiteY8" fmla="*/ 184553 h 368703"/>
                <a:gd name="connsiteX9" fmla="*/ 301625 w 558800"/>
                <a:gd name="connsiteY9" fmla="*/ 362353 h 368703"/>
                <a:gd name="connsiteX10" fmla="*/ 28575 w 558800"/>
                <a:gd name="connsiteY10" fmla="*/ 368703 h 368703"/>
                <a:gd name="connsiteX11" fmla="*/ 0 w 558800"/>
                <a:gd name="connsiteY11" fmla="*/ 333778 h 368703"/>
                <a:gd name="connsiteX12" fmla="*/ 34925 w 558800"/>
                <a:gd name="connsiteY12" fmla="*/ 263928 h 368703"/>
                <a:gd name="connsiteX0" fmla="*/ 6350 w 530225"/>
                <a:gd name="connsiteY0" fmla="*/ 263928 h 368703"/>
                <a:gd name="connsiteX1" fmla="*/ 174625 w 530225"/>
                <a:gd name="connsiteY1" fmla="*/ 248053 h 368703"/>
                <a:gd name="connsiteX2" fmla="*/ 231775 w 530225"/>
                <a:gd name="connsiteY2" fmla="*/ 70253 h 368703"/>
                <a:gd name="connsiteX3" fmla="*/ 473075 w 530225"/>
                <a:gd name="connsiteY3" fmla="*/ 41678 h 368703"/>
                <a:gd name="connsiteX4" fmla="*/ 530225 w 530225"/>
                <a:gd name="connsiteY4" fmla="*/ 343303 h 368703"/>
                <a:gd name="connsiteX5" fmla="*/ 320675 w 530225"/>
                <a:gd name="connsiteY5" fmla="*/ 352828 h 368703"/>
                <a:gd name="connsiteX6" fmla="*/ 317500 w 530225"/>
                <a:gd name="connsiteY6" fmla="*/ 346478 h 368703"/>
                <a:gd name="connsiteX7" fmla="*/ 387350 w 530225"/>
                <a:gd name="connsiteY7" fmla="*/ 194078 h 368703"/>
                <a:gd name="connsiteX8" fmla="*/ 352425 w 530225"/>
                <a:gd name="connsiteY8" fmla="*/ 184553 h 368703"/>
                <a:gd name="connsiteX9" fmla="*/ 273050 w 530225"/>
                <a:gd name="connsiteY9" fmla="*/ 362353 h 368703"/>
                <a:gd name="connsiteX10" fmla="*/ 0 w 530225"/>
                <a:gd name="connsiteY10" fmla="*/ 368703 h 368703"/>
                <a:gd name="connsiteX11" fmla="*/ 6350 w 530225"/>
                <a:gd name="connsiteY11" fmla="*/ 263928 h 368703"/>
                <a:gd name="connsiteX0" fmla="*/ 28984 w 552859"/>
                <a:gd name="connsiteY0" fmla="*/ 263928 h 368703"/>
                <a:gd name="connsiteX1" fmla="*/ 197259 w 552859"/>
                <a:gd name="connsiteY1" fmla="*/ 248053 h 368703"/>
                <a:gd name="connsiteX2" fmla="*/ 254409 w 552859"/>
                <a:gd name="connsiteY2" fmla="*/ 70253 h 368703"/>
                <a:gd name="connsiteX3" fmla="*/ 495709 w 552859"/>
                <a:gd name="connsiteY3" fmla="*/ 41678 h 368703"/>
                <a:gd name="connsiteX4" fmla="*/ 552859 w 552859"/>
                <a:gd name="connsiteY4" fmla="*/ 343303 h 368703"/>
                <a:gd name="connsiteX5" fmla="*/ 343309 w 552859"/>
                <a:gd name="connsiteY5" fmla="*/ 352828 h 368703"/>
                <a:gd name="connsiteX6" fmla="*/ 340134 w 552859"/>
                <a:gd name="connsiteY6" fmla="*/ 346478 h 368703"/>
                <a:gd name="connsiteX7" fmla="*/ 409984 w 552859"/>
                <a:gd name="connsiteY7" fmla="*/ 194078 h 368703"/>
                <a:gd name="connsiteX8" fmla="*/ 375059 w 552859"/>
                <a:gd name="connsiteY8" fmla="*/ 184553 h 368703"/>
                <a:gd name="connsiteX9" fmla="*/ 295684 w 552859"/>
                <a:gd name="connsiteY9" fmla="*/ 362353 h 368703"/>
                <a:gd name="connsiteX10" fmla="*/ 22634 w 552859"/>
                <a:gd name="connsiteY10" fmla="*/ 368703 h 368703"/>
                <a:gd name="connsiteX11" fmla="*/ 28984 w 552859"/>
                <a:gd name="connsiteY11" fmla="*/ 263928 h 368703"/>
                <a:gd name="connsiteX0" fmla="*/ 35058 w 558933"/>
                <a:gd name="connsiteY0" fmla="*/ 263928 h 369620"/>
                <a:gd name="connsiteX1" fmla="*/ 203333 w 558933"/>
                <a:gd name="connsiteY1" fmla="*/ 248053 h 369620"/>
                <a:gd name="connsiteX2" fmla="*/ 260483 w 558933"/>
                <a:gd name="connsiteY2" fmla="*/ 70253 h 369620"/>
                <a:gd name="connsiteX3" fmla="*/ 501783 w 558933"/>
                <a:gd name="connsiteY3" fmla="*/ 41678 h 369620"/>
                <a:gd name="connsiteX4" fmla="*/ 558933 w 558933"/>
                <a:gd name="connsiteY4" fmla="*/ 343303 h 369620"/>
                <a:gd name="connsiteX5" fmla="*/ 349383 w 558933"/>
                <a:gd name="connsiteY5" fmla="*/ 352828 h 369620"/>
                <a:gd name="connsiteX6" fmla="*/ 346208 w 558933"/>
                <a:gd name="connsiteY6" fmla="*/ 346478 h 369620"/>
                <a:gd name="connsiteX7" fmla="*/ 416058 w 558933"/>
                <a:gd name="connsiteY7" fmla="*/ 194078 h 369620"/>
                <a:gd name="connsiteX8" fmla="*/ 381133 w 558933"/>
                <a:gd name="connsiteY8" fmla="*/ 184553 h 369620"/>
                <a:gd name="connsiteX9" fmla="*/ 301758 w 558933"/>
                <a:gd name="connsiteY9" fmla="*/ 362353 h 369620"/>
                <a:gd name="connsiteX10" fmla="*/ 28708 w 558933"/>
                <a:gd name="connsiteY10" fmla="*/ 368703 h 369620"/>
                <a:gd name="connsiteX11" fmla="*/ 35058 w 558933"/>
                <a:gd name="connsiteY11" fmla="*/ 263928 h 369620"/>
                <a:gd name="connsiteX0" fmla="*/ 38101 w 561976"/>
                <a:gd name="connsiteY0" fmla="*/ 263928 h 368703"/>
                <a:gd name="connsiteX1" fmla="*/ 206376 w 561976"/>
                <a:gd name="connsiteY1" fmla="*/ 248053 h 368703"/>
                <a:gd name="connsiteX2" fmla="*/ 263526 w 561976"/>
                <a:gd name="connsiteY2" fmla="*/ 70253 h 368703"/>
                <a:gd name="connsiteX3" fmla="*/ 504826 w 561976"/>
                <a:gd name="connsiteY3" fmla="*/ 41678 h 368703"/>
                <a:gd name="connsiteX4" fmla="*/ 561976 w 561976"/>
                <a:gd name="connsiteY4" fmla="*/ 343303 h 368703"/>
                <a:gd name="connsiteX5" fmla="*/ 352426 w 561976"/>
                <a:gd name="connsiteY5" fmla="*/ 352828 h 368703"/>
                <a:gd name="connsiteX6" fmla="*/ 349251 w 561976"/>
                <a:gd name="connsiteY6" fmla="*/ 346478 h 368703"/>
                <a:gd name="connsiteX7" fmla="*/ 419101 w 561976"/>
                <a:gd name="connsiteY7" fmla="*/ 194078 h 368703"/>
                <a:gd name="connsiteX8" fmla="*/ 384176 w 561976"/>
                <a:gd name="connsiteY8" fmla="*/ 184553 h 368703"/>
                <a:gd name="connsiteX9" fmla="*/ 304801 w 561976"/>
                <a:gd name="connsiteY9" fmla="*/ 362353 h 368703"/>
                <a:gd name="connsiteX10" fmla="*/ 31751 w 561976"/>
                <a:gd name="connsiteY10" fmla="*/ 368703 h 368703"/>
                <a:gd name="connsiteX11" fmla="*/ 38101 w 561976"/>
                <a:gd name="connsiteY11" fmla="*/ 263928 h 368703"/>
                <a:gd name="connsiteX0" fmla="*/ 35796 w 559671"/>
                <a:gd name="connsiteY0" fmla="*/ 263928 h 368703"/>
                <a:gd name="connsiteX1" fmla="*/ 204071 w 559671"/>
                <a:gd name="connsiteY1" fmla="*/ 248053 h 368703"/>
                <a:gd name="connsiteX2" fmla="*/ 261221 w 559671"/>
                <a:gd name="connsiteY2" fmla="*/ 70253 h 368703"/>
                <a:gd name="connsiteX3" fmla="*/ 502521 w 559671"/>
                <a:gd name="connsiteY3" fmla="*/ 41678 h 368703"/>
                <a:gd name="connsiteX4" fmla="*/ 559671 w 559671"/>
                <a:gd name="connsiteY4" fmla="*/ 343303 h 368703"/>
                <a:gd name="connsiteX5" fmla="*/ 350121 w 559671"/>
                <a:gd name="connsiteY5" fmla="*/ 352828 h 368703"/>
                <a:gd name="connsiteX6" fmla="*/ 346946 w 559671"/>
                <a:gd name="connsiteY6" fmla="*/ 346478 h 368703"/>
                <a:gd name="connsiteX7" fmla="*/ 416796 w 559671"/>
                <a:gd name="connsiteY7" fmla="*/ 194078 h 368703"/>
                <a:gd name="connsiteX8" fmla="*/ 381871 w 559671"/>
                <a:gd name="connsiteY8" fmla="*/ 184553 h 368703"/>
                <a:gd name="connsiteX9" fmla="*/ 302496 w 559671"/>
                <a:gd name="connsiteY9" fmla="*/ 362353 h 368703"/>
                <a:gd name="connsiteX10" fmla="*/ 29446 w 559671"/>
                <a:gd name="connsiteY10" fmla="*/ 368703 h 368703"/>
                <a:gd name="connsiteX11" fmla="*/ 35796 w 559671"/>
                <a:gd name="connsiteY11" fmla="*/ 263928 h 368703"/>
                <a:gd name="connsiteX0" fmla="*/ 33802 w 557677"/>
                <a:gd name="connsiteY0" fmla="*/ 263928 h 368703"/>
                <a:gd name="connsiteX1" fmla="*/ 202077 w 557677"/>
                <a:gd name="connsiteY1" fmla="*/ 248053 h 368703"/>
                <a:gd name="connsiteX2" fmla="*/ 259227 w 557677"/>
                <a:gd name="connsiteY2" fmla="*/ 70253 h 368703"/>
                <a:gd name="connsiteX3" fmla="*/ 500527 w 557677"/>
                <a:gd name="connsiteY3" fmla="*/ 41678 h 368703"/>
                <a:gd name="connsiteX4" fmla="*/ 557677 w 557677"/>
                <a:gd name="connsiteY4" fmla="*/ 343303 h 368703"/>
                <a:gd name="connsiteX5" fmla="*/ 348127 w 557677"/>
                <a:gd name="connsiteY5" fmla="*/ 352828 h 368703"/>
                <a:gd name="connsiteX6" fmla="*/ 344952 w 557677"/>
                <a:gd name="connsiteY6" fmla="*/ 346478 h 368703"/>
                <a:gd name="connsiteX7" fmla="*/ 414802 w 557677"/>
                <a:gd name="connsiteY7" fmla="*/ 194078 h 368703"/>
                <a:gd name="connsiteX8" fmla="*/ 379877 w 557677"/>
                <a:gd name="connsiteY8" fmla="*/ 184553 h 368703"/>
                <a:gd name="connsiteX9" fmla="*/ 300502 w 557677"/>
                <a:gd name="connsiteY9" fmla="*/ 362353 h 368703"/>
                <a:gd name="connsiteX10" fmla="*/ 27452 w 557677"/>
                <a:gd name="connsiteY10" fmla="*/ 368703 h 368703"/>
                <a:gd name="connsiteX11" fmla="*/ 33802 w 557677"/>
                <a:gd name="connsiteY11" fmla="*/ 263928 h 368703"/>
                <a:gd name="connsiteX0" fmla="*/ 32812 w 556687"/>
                <a:gd name="connsiteY0" fmla="*/ 263928 h 368703"/>
                <a:gd name="connsiteX1" fmla="*/ 201087 w 556687"/>
                <a:gd name="connsiteY1" fmla="*/ 248053 h 368703"/>
                <a:gd name="connsiteX2" fmla="*/ 258237 w 556687"/>
                <a:gd name="connsiteY2" fmla="*/ 70253 h 368703"/>
                <a:gd name="connsiteX3" fmla="*/ 499537 w 556687"/>
                <a:gd name="connsiteY3" fmla="*/ 41678 h 368703"/>
                <a:gd name="connsiteX4" fmla="*/ 556687 w 556687"/>
                <a:gd name="connsiteY4" fmla="*/ 343303 h 368703"/>
                <a:gd name="connsiteX5" fmla="*/ 347137 w 556687"/>
                <a:gd name="connsiteY5" fmla="*/ 352828 h 368703"/>
                <a:gd name="connsiteX6" fmla="*/ 343962 w 556687"/>
                <a:gd name="connsiteY6" fmla="*/ 346478 h 368703"/>
                <a:gd name="connsiteX7" fmla="*/ 413812 w 556687"/>
                <a:gd name="connsiteY7" fmla="*/ 194078 h 368703"/>
                <a:gd name="connsiteX8" fmla="*/ 378887 w 556687"/>
                <a:gd name="connsiteY8" fmla="*/ 184553 h 368703"/>
                <a:gd name="connsiteX9" fmla="*/ 299512 w 556687"/>
                <a:gd name="connsiteY9" fmla="*/ 362353 h 368703"/>
                <a:gd name="connsiteX10" fmla="*/ 26462 w 556687"/>
                <a:gd name="connsiteY10" fmla="*/ 368703 h 368703"/>
                <a:gd name="connsiteX11" fmla="*/ 32812 w 556687"/>
                <a:gd name="connsiteY11" fmla="*/ 263928 h 368703"/>
                <a:gd name="connsiteX0" fmla="*/ 32812 w 556687"/>
                <a:gd name="connsiteY0" fmla="*/ 263928 h 368703"/>
                <a:gd name="connsiteX1" fmla="*/ 201087 w 556687"/>
                <a:gd name="connsiteY1" fmla="*/ 248053 h 368703"/>
                <a:gd name="connsiteX2" fmla="*/ 258237 w 556687"/>
                <a:gd name="connsiteY2" fmla="*/ 70253 h 368703"/>
                <a:gd name="connsiteX3" fmla="*/ 499537 w 556687"/>
                <a:gd name="connsiteY3" fmla="*/ 41678 h 368703"/>
                <a:gd name="connsiteX4" fmla="*/ 556687 w 556687"/>
                <a:gd name="connsiteY4" fmla="*/ 343303 h 368703"/>
                <a:gd name="connsiteX5" fmla="*/ 347137 w 556687"/>
                <a:gd name="connsiteY5" fmla="*/ 352828 h 368703"/>
                <a:gd name="connsiteX6" fmla="*/ 413812 w 556687"/>
                <a:gd name="connsiteY6" fmla="*/ 194078 h 368703"/>
                <a:gd name="connsiteX7" fmla="*/ 378887 w 556687"/>
                <a:gd name="connsiteY7" fmla="*/ 184553 h 368703"/>
                <a:gd name="connsiteX8" fmla="*/ 299512 w 556687"/>
                <a:gd name="connsiteY8" fmla="*/ 362353 h 368703"/>
                <a:gd name="connsiteX9" fmla="*/ 26462 w 556687"/>
                <a:gd name="connsiteY9" fmla="*/ 368703 h 368703"/>
                <a:gd name="connsiteX10" fmla="*/ 32812 w 556687"/>
                <a:gd name="connsiteY10" fmla="*/ 263928 h 368703"/>
                <a:gd name="connsiteX0" fmla="*/ 32812 w 556687"/>
                <a:gd name="connsiteY0" fmla="*/ 263928 h 368703"/>
                <a:gd name="connsiteX1" fmla="*/ 201087 w 556687"/>
                <a:gd name="connsiteY1" fmla="*/ 248053 h 368703"/>
                <a:gd name="connsiteX2" fmla="*/ 258237 w 556687"/>
                <a:gd name="connsiteY2" fmla="*/ 70253 h 368703"/>
                <a:gd name="connsiteX3" fmla="*/ 499537 w 556687"/>
                <a:gd name="connsiteY3" fmla="*/ 41678 h 368703"/>
                <a:gd name="connsiteX4" fmla="*/ 556687 w 556687"/>
                <a:gd name="connsiteY4" fmla="*/ 343303 h 368703"/>
                <a:gd name="connsiteX5" fmla="*/ 347137 w 556687"/>
                <a:gd name="connsiteY5" fmla="*/ 352828 h 368703"/>
                <a:gd name="connsiteX6" fmla="*/ 413812 w 556687"/>
                <a:gd name="connsiteY6" fmla="*/ 194078 h 368703"/>
                <a:gd name="connsiteX7" fmla="*/ 378887 w 556687"/>
                <a:gd name="connsiteY7" fmla="*/ 184553 h 368703"/>
                <a:gd name="connsiteX8" fmla="*/ 299512 w 556687"/>
                <a:gd name="connsiteY8" fmla="*/ 362353 h 368703"/>
                <a:gd name="connsiteX9" fmla="*/ 26462 w 556687"/>
                <a:gd name="connsiteY9" fmla="*/ 368703 h 368703"/>
                <a:gd name="connsiteX10" fmla="*/ 32812 w 556687"/>
                <a:gd name="connsiteY10" fmla="*/ 263928 h 368703"/>
                <a:gd name="connsiteX0" fmla="*/ 32812 w 556687"/>
                <a:gd name="connsiteY0" fmla="*/ 263928 h 368703"/>
                <a:gd name="connsiteX1" fmla="*/ 201087 w 556687"/>
                <a:gd name="connsiteY1" fmla="*/ 248053 h 368703"/>
                <a:gd name="connsiteX2" fmla="*/ 258237 w 556687"/>
                <a:gd name="connsiteY2" fmla="*/ 70253 h 368703"/>
                <a:gd name="connsiteX3" fmla="*/ 499537 w 556687"/>
                <a:gd name="connsiteY3" fmla="*/ 41678 h 368703"/>
                <a:gd name="connsiteX4" fmla="*/ 556687 w 556687"/>
                <a:gd name="connsiteY4" fmla="*/ 343303 h 368703"/>
                <a:gd name="connsiteX5" fmla="*/ 347137 w 556687"/>
                <a:gd name="connsiteY5" fmla="*/ 352828 h 368703"/>
                <a:gd name="connsiteX6" fmla="*/ 413812 w 556687"/>
                <a:gd name="connsiteY6" fmla="*/ 194078 h 368703"/>
                <a:gd name="connsiteX7" fmla="*/ 378887 w 556687"/>
                <a:gd name="connsiteY7" fmla="*/ 184553 h 368703"/>
                <a:gd name="connsiteX8" fmla="*/ 299512 w 556687"/>
                <a:gd name="connsiteY8" fmla="*/ 362353 h 368703"/>
                <a:gd name="connsiteX9" fmla="*/ 26462 w 556687"/>
                <a:gd name="connsiteY9" fmla="*/ 368703 h 368703"/>
                <a:gd name="connsiteX10" fmla="*/ 32812 w 556687"/>
                <a:gd name="connsiteY10" fmla="*/ 263928 h 368703"/>
                <a:gd name="connsiteX0" fmla="*/ 32812 w 556687"/>
                <a:gd name="connsiteY0" fmla="*/ 263928 h 368703"/>
                <a:gd name="connsiteX1" fmla="*/ 201087 w 556687"/>
                <a:gd name="connsiteY1" fmla="*/ 248053 h 368703"/>
                <a:gd name="connsiteX2" fmla="*/ 258237 w 556687"/>
                <a:gd name="connsiteY2" fmla="*/ 70253 h 368703"/>
                <a:gd name="connsiteX3" fmla="*/ 499537 w 556687"/>
                <a:gd name="connsiteY3" fmla="*/ 41678 h 368703"/>
                <a:gd name="connsiteX4" fmla="*/ 556687 w 556687"/>
                <a:gd name="connsiteY4" fmla="*/ 343303 h 368703"/>
                <a:gd name="connsiteX5" fmla="*/ 347137 w 556687"/>
                <a:gd name="connsiteY5" fmla="*/ 352828 h 368703"/>
                <a:gd name="connsiteX6" fmla="*/ 413812 w 556687"/>
                <a:gd name="connsiteY6" fmla="*/ 194078 h 368703"/>
                <a:gd name="connsiteX7" fmla="*/ 378887 w 556687"/>
                <a:gd name="connsiteY7" fmla="*/ 184553 h 368703"/>
                <a:gd name="connsiteX8" fmla="*/ 299512 w 556687"/>
                <a:gd name="connsiteY8" fmla="*/ 362353 h 368703"/>
                <a:gd name="connsiteX9" fmla="*/ 26462 w 556687"/>
                <a:gd name="connsiteY9" fmla="*/ 368703 h 368703"/>
                <a:gd name="connsiteX10" fmla="*/ 32812 w 556687"/>
                <a:gd name="connsiteY10" fmla="*/ 263928 h 368703"/>
                <a:gd name="connsiteX0" fmla="*/ 32812 w 556687"/>
                <a:gd name="connsiteY0" fmla="*/ 260508 h 365283"/>
                <a:gd name="connsiteX1" fmla="*/ 201087 w 556687"/>
                <a:gd name="connsiteY1" fmla="*/ 244633 h 365283"/>
                <a:gd name="connsiteX2" fmla="*/ 258237 w 556687"/>
                <a:gd name="connsiteY2" fmla="*/ 66833 h 365283"/>
                <a:gd name="connsiteX3" fmla="*/ 426512 w 556687"/>
                <a:gd name="connsiteY3" fmla="*/ 7302 h 365283"/>
                <a:gd name="connsiteX4" fmla="*/ 499537 w 556687"/>
                <a:gd name="connsiteY4" fmla="*/ 38258 h 365283"/>
                <a:gd name="connsiteX5" fmla="*/ 556687 w 556687"/>
                <a:gd name="connsiteY5" fmla="*/ 339883 h 365283"/>
                <a:gd name="connsiteX6" fmla="*/ 347137 w 556687"/>
                <a:gd name="connsiteY6" fmla="*/ 349408 h 365283"/>
                <a:gd name="connsiteX7" fmla="*/ 413812 w 556687"/>
                <a:gd name="connsiteY7" fmla="*/ 190658 h 365283"/>
                <a:gd name="connsiteX8" fmla="*/ 378887 w 556687"/>
                <a:gd name="connsiteY8" fmla="*/ 181133 h 365283"/>
                <a:gd name="connsiteX9" fmla="*/ 299512 w 556687"/>
                <a:gd name="connsiteY9" fmla="*/ 358933 h 365283"/>
                <a:gd name="connsiteX10" fmla="*/ 26462 w 556687"/>
                <a:gd name="connsiteY10" fmla="*/ 365283 h 365283"/>
                <a:gd name="connsiteX11" fmla="*/ 32812 w 556687"/>
                <a:gd name="connsiteY11" fmla="*/ 260508 h 365283"/>
                <a:gd name="connsiteX0" fmla="*/ 32812 w 557953"/>
                <a:gd name="connsiteY0" fmla="*/ 268685 h 373460"/>
                <a:gd name="connsiteX1" fmla="*/ 201087 w 557953"/>
                <a:gd name="connsiteY1" fmla="*/ 252810 h 373460"/>
                <a:gd name="connsiteX2" fmla="*/ 258237 w 557953"/>
                <a:gd name="connsiteY2" fmla="*/ 75010 h 373460"/>
                <a:gd name="connsiteX3" fmla="*/ 426512 w 557953"/>
                <a:gd name="connsiteY3" fmla="*/ 15479 h 373460"/>
                <a:gd name="connsiteX4" fmla="*/ 556687 w 557953"/>
                <a:gd name="connsiteY4" fmla="*/ 348060 h 373460"/>
                <a:gd name="connsiteX5" fmla="*/ 347137 w 557953"/>
                <a:gd name="connsiteY5" fmla="*/ 357585 h 373460"/>
                <a:gd name="connsiteX6" fmla="*/ 413812 w 557953"/>
                <a:gd name="connsiteY6" fmla="*/ 198835 h 373460"/>
                <a:gd name="connsiteX7" fmla="*/ 378887 w 557953"/>
                <a:gd name="connsiteY7" fmla="*/ 189310 h 373460"/>
                <a:gd name="connsiteX8" fmla="*/ 299512 w 557953"/>
                <a:gd name="connsiteY8" fmla="*/ 367110 h 373460"/>
                <a:gd name="connsiteX9" fmla="*/ 26462 w 557953"/>
                <a:gd name="connsiteY9" fmla="*/ 373460 h 373460"/>
                <a:gd name="connsiteX10" fmla="*/ 32812 w 557953"/>
                <a:gd name="connsiteY10" fmla="*/ 268685 h 373460"/>
                <a:gd name="connsiteX0" fmla="*/ 32812 w 557953"/>
                <a:gd name="connsiteY0" fmla="*/ 260976 h 365751"/>
                <a:gd name="connsiteX1" fmla="*/ 201087 w 557953"/>
                <a:gd name="connsiteY1" fmla="*/ 245101 h 365751"/>
                <a:gd name="connsiteX2" fmla="*/ 258237 w 557953"/>
                <a:gd name="connsiteY2" fmla="*/ 67301 h 365751"/>
                <a:gd name="connsiteX3" fmla="*/ 426512 w 557953"/>
                <a:gd name="connsiteY3" fmla="*/ 7770 h 365751"/>
                <a:gd name="connsiteX4" fmla="*/ 556687 w 557953"/>
                <a:gd name="connsiteY4" fmla="*/ 340351 h 365751"/>
                <a:gd name="connsiteX5" fmla="*/ 347137 w 557953"/>
                <a:gd name="connsiteY5" fmla="*/ 349876 h 365751"/>
                <a:gd name="connsiteX6" fmla="*/ 413812 w 557953"/>
                <a:gd name="connsiteY6" fmla="*/ 191126 h 365751"/>
                <a:gd name="connsiteX7" fmla="*/ 378887 w 557953"/>
                <a:gd name="connsiteY7" fmla="*/ 181601 h 365751"/>
                <a:gd name="connsiteX8" fmla="*/ 299512 w 557953"/>
                <a:gd name="connsiteY8" fmla="*/ 359401 h 365751"/>
                <a:gd name="connsiteX9" fmla="*/ 26462 w 557953"/>
                <a:gd name="connsiteY9" fmla="*/ 365751 h 365751"/>
                <a:gd name="connsiteX10" fmla="*/ 32812 w 557953"/>
                <a:gd name="connsiteY10" fmla="*/ 260976 h 365751"/>
                <a:gd name="connsiteX0" fmla="*/ 32812 w 558115"/>
                <a:gd name="connsiteY0" fmla="*/ 269583 h 374358"/>
                <a:gd name="connsiteX1" fmla="*/ 201087 w 558115"/>
                <a:gd name="connsiteY1" fmla="*/ 253708 h 374358"/>
                <a:gd name="connsiteX2" fmla="*/ 258237 w 558115"/>
                <a:gd name="connsiteY2" fmla="*/ 75908 h 374358"/>
                <a:gd name="connsiteX3" fmla="*/ 438418 w 558115"/>
                <a:gd name="connsiteY3" fmla="*/ 6852 h 374358"/>
                <a:gd name="connsiteX4" fmla="*/ 556687 w 558115"/>
                <a:gd name="connsiteY4" fmla="*/ 348958 h 374358"/>
                <a:gd name="connsiteX5" fmla="*/ 347137 w 558115"/>
                <a:gd name="connsiteY5" fmla="*/ 358483 h 374358"/>
                <a:gd name="connsiteX6" fmla="*/ 413812 w 558115"/>
                <a:gd name="connsiteY6" fmla="*/ 199733 h 374358"/>
                <a:gd name="connsiteX7" fmla="*/ 378887 w 558115"/>
                <a:gd name="connsiteY7" fmla="*/ 190208 h 374358"/>
                <a:gd name="connsiteX8" fmla="*/ 299512 w 558115"/>
                <a:gd name="connsiteY8" fmla="*/ 368008 h 374358"/>
                <a:gd name="connsiteX9" fmla="*/ 26462 w 558115"/>
                <a:gd name="connsiteY9" fmla="*/ 374358 h 374358"/>
                <a:gd name="connsiteX10" fmla="*/ 32812 w 558115"/>
                <a:gd name="connsiteY10" fmla="*/ 269583 h 374358"/>
                <a:gd name="connsiteX0" fmla="*/ 32812 w 558706"/>
                <a:gd name="connsiteY0" fmla="*/ 269583 h 374358"/>
                <a:gd name="connsiteX1" fmla="*/ 201087 w 558706"/>
                <a:gd name="connsiteY1" fmla="*/ 253708 h 374358"/>
                <a:gd name="connsiteX2" fmla="*/ 258237 w 558706"/>
                <a:gd name="connsiteY2" fmla="*/ 75908 h 374358"/>
                <a:gd name="connsiteX3" fmla="*/ 438418 w 558706"/>
                <a:gd name="connsiteY3" fmla="*/ 6852 h 374358"/>
                <a:gd name="connsiteX4" fmla="*/ 556687 w 558706"/>
                <a:gd name="connsiteY4" fmla="*/ 348958 h 374358"/>
                <a:gd name="connsiteX5" fmla="*/ 347137 w 558706"/>
                <a:gd name="connsiteY5" fmla="*/ 358483 h 374358"/>
                <a:gd name="connsiteX6" fmla="*/ 413812 w 558706"/>
                <a:gd name="connsiteY6" fmla="*/ 199733 h 374358"/>
                <a:gd name="connsiteX7" fmla="*/ 378887 w 558706"/>
                <a:gd name="connsiteY7" fmla="*/ 190208 h 374358"/>
                <a:gd name="connsiteX8" fmla="*/ 299512 w 558706"/>
                <a:gd name="connsiteY8" fmla="*/ 368008 h 374358"/>
                <a:gd name="connsiteX9" fmla="*/ 26462 w 558706"/>
                <a:gd name="connsiteY9" fmla="*/ 374358 h 374358"/>
                <a:gd name="connsiteX10" fmla="*/ 32812 w 558706"/>
                <a:gd name="connsiteY10" fmla="*/ 269583 h 374358"/>
                <a:gd name="connsiteX0" fmla="*/ 32812 w 558706"/>
                <a:gd name="connsiteY0" fmla="*/ 265576 h 370351"/>
                <a:gd name="connsiteX1" fmla="*/ 201087 w 558706"/>
                <a:gd name="connsiteY1" fmla="*/ 249701 h 370351"/>
                <a:gd name="connsiteX2" fmla="*/ 258237 w 558706"/>
                <a:gd name="connsiteY2" fmla="*/ 71901 h 370351"/>
                <a:gd name="connsiteX3" fmla="*/ 438418 w 558706"/>
                <a:gd name="connsiteY3" fmla="*/ 2845 h 370351"/>
                <a:gd name="connsiteX4" fmla="*/ 556687 w 558706"/>
                <a:gd name="connsiteY4" fmla="*/ 344951 h 370351"/>
                <a:gd name="connsiteX5" fmla="*/ 347137 w 558706"/>
                <a:gd name="connsiteY5" fmla="*/ 354476 h 370351"/>
                <a:gd name="connsiteX6" fmla="*/ 413812 w 558706"/>
                <a:gd name="connsiteY6" fmla="*/ 195726 h 370351"/>
                <a:gd name="connsiteX7" fmla="*/ 378887 w 558706"/>
                <a:gd name="connsiteY7" fmla="*/ 186201 h 370351"/>
                <a:gd name="connsiteX8" fmla="*/ 299512 w 558706"/>
                <a:gd name="connsiteY8" fmla="*/ 364001 h 370351"/>
                <a:gd name="connsiteX9" fmla="*/ 26462 w 558706"/>
                <a:gd name="connsiteY9" fmla="*/ 370351 h 370351"/>
                <a:gd name="connsiteX10" fmla="*/ 32812 w 558706"/>
                <a:gd name="connsiteY10" fmla="*/ 265576 h 370351"/>
                <a:gd name="connsiteX0" fmla="*/ 32812 w 558706"/>
                <a:gd name="connsiteY0" fmla="*/ 268667 h 373442"/>
                <a:gd name="connsiteX1" fmla="*/ 201087 w 558706"/>
                <a:gd name="connsiteY1" fmla="*/ 252792 h 373442"/>
                <a:gd name="connsiteX2" fmla="*/ 258237 w 558706"/>
                <a:gd name="connsiteY2" fmla="*/ 74992 h 373442"/>
                <a:gd name="connsiteX3" fmla="*/ 438418 w 558706"/>
                <a:gd name="connsiteY3" fmla="*/ 5936 h 373442"/>
                <a:gd name="connsiteX4" fmla="*/ 556687 w 558706"/>
                <a:gd name="connsiteY4" fmla="*/ 348042 h 373442"/>
                <a:gd name="connsiteX5" fmla="*/ 347137 w 558706"/>
                <a:gd name="connsiteY5" fmla="*/ 357567 h 373442"/>
                <a:gd name="connsiteX6" fmla="*/ 413812 w 558706"/>
                <a:gd name="connsiteY6" fmla="*/ 198817 h 373442"/>
                <a:gd name="connsiteX7" fmla="*/ 378887 w 558706"/>
                <a:gd name="connsiteY7" fmla="*/ 189292 h 373442"/>
                <a:gd name="connsiteX8" fmla="*/ 299512 w 558706"/>
                <a:gd name="connsiteY8" fmla="*/ 367092 h 373442"/>
                <a:gd name="connsiteX9" fmla="*/ 26462 w 558706"/>
                <a:gd name="connsiteY9" fmla="*/ 373442 h 373442"/>
                <a:gd name="connsiteX10" fmla="*/ 32812 w 558706"/>
                <a:gd name="connsiteY10" fmla="*/ 268667 h 373442"/>
                <a:gd name="connsiteX0" fmla="*/ 32812 w 556687"/>
                <a:gd name="connsiteY0" fmla="*/ 268667 h 373442"/>
                <a:gd name="connsiteX1" fmla="*/ 201087 w 556687"/>
                <a:gd name="connsiteY1" fmla="*/ 252792 h 373442"/>
                <a:gd name="connsiteX2" fmla="*/ 258237 w 556687"/>
                <a:gd name="connsiteY2" fmla="*/ 74992 h 373442"/>
                <a:gd name="connsiteX3" fmla="*/ 438418 w 556687"/>
                <a:gd name="connsiteY3" fmla="*/ 5936 h 373442"/>
                <a:gd name="connsiteX4" fmla="*/ 556687 w 556687"/>
                <a:gd name="connsiteY4" fmla="*/ 348042 h 373442"/>
                <a:gd name="connsiteX5" fmla="*/ 347137 w 556687"/>
                <a:gd name="connsiteY5" fmla="*/ 357567 h 373442"/>
                <a:gd name="connsiteX6" fmla="*/ 413812 w 556687"/>
                <a:gd name="connsiteY6" fmla="*/ 198817 h 373442"/>
                <a:gd name="connsiteX7" fmla="*/ 378887 w 556687"/>
                <a:gd name="connsiteY7" fmla="*/ 189292 h 373442"/>
                <a:gd name="connsiteX8" fmla="*/ 299512 w 556687"/>
                <a:gd name="connsiteY8" fmla="*/ 367092 h 373442"/>
                <a:gd name="connsiteX9" fmla="*/ 26462 w 556687"/>
                <a:gd name="connsiteY9" fmla="*/ 373442 h 373442"/>
                <a:gd name="connsiteX10" fmla="*/ 32812 w 556687"/>
                <a:gd name="connsiteY10" fmla="*/ 268667 h 373442"/>
                <a:gd name="connsiteX0" fmla="*/ 32812 w 556687"/>
                <a:gd name="connsiteY0" fmla="*/ 268667 h 373442"/>
                <a:gd name="connsiteX1" fmla="*/ 201087 w 556687"/>
                <a:gd name="connsiteY1" fmla="*/ 252792 h 373442"/>
                <a:gd name="connsiteX2" fmla="*/ 258237 w 556687"/>
                <a:gd name="connsiteY2" fmla="*/ 74992 h 373442"/>
                <a:gd name="connsiteX3" fmla="*/ 438418 w 556687"/>
                <a:gd name="connsiteY3" fmla="*/ 5936 h 373442"/>
                <a:gd name="connsiteX4" fmla="*/ 556687 w 556687"/>
                <a:gd name="connsiteY4" fmla="*/ 348042 h 373442"/>
                <a:gd name="connsiteX5" fmla="*/ 347137 w 556687"/>
                <a:gd name="connsiteY5" fmla="*/ 357567 h 373442"/>
                <a:gd name="connsiteX6" fmla="*/ 413812 w 556687"/>
                <a:gd name="connsiteY6" fmla="*/ 198817 h 373442"/>
                <a:gd name="connsiteX7" fmla="*/ 378887 w 556687"/>
                <a:gd name="connsiteY7" fmla="*/ 189292 h 373442"/>
                <a:gd name="connsiteX8" fmla="*/ 299512 w 556687"/>
                <a:gd name="connsiteY8" fmla="*/ 367092 h 373442"/>
                <a:gd name="connsiteX9" fmla="*/ 26462 w 556687"/>
                <a:gd name="connsiteY9" fmla="*/ 373442 h 373442"/>
                <a:gd name="connsiteX10" fmla="*/ 32812 w 556687"/>
                <a:gd name="connsiteY10" fmla="*/ 268667 h 373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6687" h="373442">
                  <a:moveTo>
                    <a:pt x="32812" y="268667"/>
                  </a:moveTo>
                  <a:lnTo>
                    <a:pt x="201087" y="252792"/>
                  </a:lnTo>
                  <a:lnTo>
                    <a:pt x="258237" y="74992"/>
                  </a:lnTo>
                  <a:cubicBezTo>
                    <a:pt x="302951" y="-282"/>
                    <a:pt x="376770" y="-8615"/>
                    <a:pt x="438418" y="5936"/>
                  </a:cubicBezTo>
                  <a:cubicBezTo>
                    <a:pt x="516735" y="49062"/>
                    <a:pt x="546104" y="71949"/>
                    <a:pt x="556687" y="348042"/>
                  </a:cubicBezTo>
                  <a:cubicBezTo>
                    <a:pt x="479693" y="353599"/>
                    <a:pt x="416987" y="354392"/>
                    <a:pt x="347137" y="357567"/>
                  </a:cubicBezTo>
                  <a:cubicBezTo>
                    <a:pt x="357456" y="321318"/>
                    <a:pt x="389206" y="251734"/>
                    <a:pt x="413812" y="198817"/>
                  </a:cubicBezTo>
                  <a:lnTo>
                    <a:pt x="378887" y="189292"/>
                  </a:lnTo>
                  <a:lnTo>
                    <a:pt x="299512" y="367092"/>
                  </a:lnTo>
                  <a:lnTo>
                    <a:pt x="26462" y="373442"/>
                  </a:lnTo>
                  <a:cubicBezTo>
                    <a:pt x="3972" y="361535"/>
                    <a:pt x="-22485" y="302005"/>
                    <a:pt x="32812" y="268667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698">
                <a:defRPr/>
              </a:pPr>
              <a:endParaRPr lang="en-IN" kern="0">
                <a:solidFill>
                  <a:srgbClr val="505050"/>
                </a:solidFill>
                <a:latin typeface="+mj-lt"/>
              </a:endParaRPr>
            </a:p>
          </p:txBody>
        </p:sp>
        <p:sp>
          <p:nvSpPr>
            <p:cNvPr id="20" name="Freeform 27"/>
            <p:cNvSpPr/>
            <p:nvPr/>
          </p:nvSpPr>
          <p:spPr>
            <a:xfrm rot="20245202">
              <a:off x="3807371" y="3312921"/>
              <a:ext cx="255167" cy="149644"/>
            </a:xfrm>
            <a:custGeom>
              <a:avLst/>
              <a:gdLst>
                <a:gd name="connsiteX0" fmla="*/ 246244 w 255167"/>
                <a:gd name="connsiteY0" fmla="*/ 8923 h 128920"/>
                <a:gd name="connsiteX1" fmla="*/ 255167 w 255167"/>
                <a:gd name="connsiteY1" fmla="*/ 30466 h 128920"/>
                <a:gd name="connsiteX2" fmla="*/ 255167 w 255167"/>
                <a:gd name="connsiteY2" fmla="*/ 101784 h 128920"/>
                <a:gd name="connsiteX3" fmla="*/ 246244 w 255167"/>
                <a:gd name="connsiteY3" fmla="*/ 123327 h 128920"/>
                <a:gd name="connsiteX4" fmla="*/ 232739 w 255167"/>
                <a:gd name="connsiteY4" fmla="*/ 128920 h 128920"/>
                <a:gd name="connsiteX5" fmla="*/ 232739 w 255167"/>
                <a:gd name="connsiteY5" fmla="*/ 29639 h 128920"/>
                <a:gd name="connsiteX6" fmla="*/ 223504 w 255167"/>
                <a:gd name="connsiteY6" fmla="*/ 20404 h 128920"/>
                <a:gd name="connsiteX7" fmla="*/ 31662 w 255167"/>
                <a:gd name="connsiteY7" fmla="*/ 20404 h 128920"/>
                <a:gd name="connsiteX8" fmla="*/ 22427 w 255167"/>
                <a:gd name="connsiteY8" fmla="*/ 29639 h 128920"/>
                <a:gd name="connsiteX9" fmla="*/ 22427 w 255167"/>
                <a:gd name="connsiteY9" fmla="*/ 128920 h 128920"/>
                <a:gd name="connsiteX10" fmla="*/ 8923 w 255167"/>
                <a:gd name="connsiteY10" fmla="*/ 123327 h 128920"/>
                <a:gd name="connsiteX11" fmla="*/ 0 w 255167"/>
                <a:gd name="connsiteY11" fmla="*/ 101784 h 128920"/>
                <a:gd name="connsiteX12" fmla="*/ 0 w 255167"/>
                <a:gd name="connsiteY12" fmla="*/ 30466 h 128920"/>
                <a:gd name="connsiteX13" fmla="*/ 30466 w 255167"/>
                <a:gd name="connsiteY13" fmla="*/ 0 h 128920"/>
                <a:gd name="connsiteX14" fmla="*/ 224701 w 255167"/>
                <a:gd name="connsiteY14" fmla="*/ 0 h 128920"/>
                <a:gd name="connsiteX15" fmla="*/ 246244 w 255167"/>
                <a:gd name="connsiteY15" fmla="*/ 8923 h 12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5167" h="128920">
                  <a:moveTo>
                    <a:pt x="246244" y="8923"/>
                  </a:moveTo>
                  <a:cubicBezTo>
                    <a:pt x="251757" y="14437"/>
                    <a:pt x="255167" y="22053"/>
                    <a:pt x="255167" y="30466"/>
                  </a:cubicBezTo>
                  <a:lnTo>
                    <a:pt x="255167" y="101784"/>
                  </a:lnTo>
                  <a:cubicBezTo>
                    <a:pt x="255167" y="110197"/>
                    <a:pt x="251757" y="117814"/>
                    <a:pt x="246244" y="123327"/>
                  </a:cubicBezTo>
                  <a:lnTo>
                    <a:pt x="232739" y="128920"/>
                  </a:lnTo>
                  <a:lnTo>
                    <a:pt x="232739" y="29639"/>
                  </a:lnTo>
                  <a:cubicBezTo>
                    <a:pt x="232739" y="24539"/>
                    <a:pt x="228604" y="20404"/>
                    <a:pt x="223504" y="20404"/>
                  </a:cubicBezTo>
                  <a:lnTo>
                    <a:pt x="31662" y="20404"/>
                  </a:lnTo>
                  <a:cubicBezTo>
                    <a:pt x="26562" y="20404"/>
                    <a:pt x="22427" y="24539"/>
                    <a:pt x="22427" y="29639"/>
                  </a:cubicBezTo>
                  <a:lnTo>
                    <a:pt x="22427" y="128920"/>
                  </a:lnTo>
                  <a:lnTo>
                    <a:pt x="8923" y="123327"/>
                  </a:lnTo>
                  <a:cubicBezTo>
                    <a:pt x="3410" y="117813"/>
                    <a:pt x="0" y="110197"/>
                    <a:pt x="0" y="101784"/>
                  </a:cubicBezTo>
                  <a:lnTo>
                    <a:pt x="0" y="30466"/>
                  </a:lnTo>
                  <a:cubicBezTo>
                    <a:pt x="0" y="13640"/>
                    <a:pt x="13640" y="0"/>
                    <a:pt x="30466" y="0"/>
                  </a:cubicBezTo>
                  <a:lnTo>
                    <a:pt x="224701" y="0"/>
                  </a:lnTo>
                  <a:cubicBezTo>
                    <a:pt x="233114" y="0"/>
                    <a:pt x="240731" y="3410"/>
                    <a:pt x="246244" y="8923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698">
                <a:defRPr/>
              </a:pPr>
              <a:endParaRPr lang="en-IN" kern="0">
                <a:solidFill>
                  <a:srgbClr val="505050"/>
                </a:solidFill>
                <a:latin typeface="+mj-lt"/>
              </a:endParaRPr>
            </a:p>
          </p:txBody>
        </p:sp>
      </p:grpSp>
      <p:sp>
        <p:nvSpPr>
          <p:cNvPr id="21" name="Right Brace 20"/>
          <p:cNvSpPr/>
          <p:nvPr/>
        </p:nvSpPr>
        <p:spPr>
          <a:xfrm>
            <a:off x="2419561" y="3444764"/>
            <a:ext cx="197332" cy="2184762"/>
          </a:xfrm>
          <a:prstGeom prst="rightBrace">
            <a:avLst>
              <a:gd name="adj1" fmla="val 43816"/>
              <a:gd name="adj2" fmla="val 50000"/>
            </a:avLst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  <a:headEnd type="none" w="med" len="sm"/>
            <a:tailEnd type="none" w="med" len="sm"/>
          </a:ln>
          <a:effectLst/>
        </p:spPr>
        <p:txBody>
          <a:bodyPr rot="0" spcFirstLastPara="0" vertOverflow="overflow" horzOverflow="overflow" vert="horz" wrap="square" lIns="89604" tIns="44802" rIns="89604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2979">
              <a:defRPr/>
            </a:pPr>
            <a:endParaRPr lang="en-US" sz="1600" kern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5035456" y="2145043"/>
            <a:ext cx="2213768" cy="1674507"/>
          </a:xfrm>
          <a:prstGeom prst="rect">
            <a:avLst/>
          </a:prstGeom>
          <a:noFill/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04" tIns="44796" rIns="91388" bIns="447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576">
              <a:spcBef>
                <a:spcPts val="100"/>
              </a:spcBef>
              <a:defRPr/>
            </a:pPr>
            <a:r>
              <a:rPr lang="en-US" sz="1600" kern="0" dirty="0">
                <a:latin typeface="+mj-lt"/>
                <a:cs typeface="Segoe UI Semibold" panose="020B0702040204020203" pitchFamily="34" charset="0"/>
              </a:rPr>
              <a:t>Example Solutions</a:t>
            </a:r>
          </a:p>
          <a:p>
            <a:pPr marL="342834" indent="-285695" defTabSz="895082">
              <a:spcBef>
                <a:spcPts val="1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Fraud detection</a:t>
            </a:r>
          </a:p>
          <a:p>
            <a:pPr marL="342834" indent="-285695" defTabSz="895082">
              <a:spcBef>
                <a:spcPts val="1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Sales forecasting</a:t>
            </a:r>
          </a:p>
          <a:p>
            <a:pPr marL="342834" indent="-285695" defTabSz="895082">
              <a:spcBef>
                <a:spcPts val="1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Warehouse efficiency</a:t>
            </a:r>
          </a:p>
          <a:p>
            <a:pPr marL="342834" indent="-285695" defTabSz="895082">
              <a:spcBef>
                <a:spcPts val="1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Predictive maintenance</a:t>
            </a:r>
          </a:p>
        </p:txBody>
      </p:sp>
      <p:sp>
        <p:nvSpPr>
          <p:cNvPr id="23" name="Oval 122"/>
          <p:cNvSpPr>
            <a:spLocks noChangeArrowheads="1"/>
          </p:cNvSpPr>
          <p:nvPr/>
        </p:nvSpPr>
        <p:spPr bwMode="auto">
          <a:xfrm>
            <a:off x="2774629" y="3614788"/>
            <a:ext cx="2004254" cy="294657"/>
          </a:xfrm>
          <a:prstGeom prst="ellipse">
            <a:avLst/>
          </a:prstGeom>
          <a:solidFill>
            <a:srgbClr val="FE5012"/>
          </a:solidFill>
          <a:ln>
            <a:noFill/>
          </a:ln>
          <a:extLst/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defTabSz="913874">
              <a:defRPr/>
            </a:pPr>
            <a:endParaRPr lang="en-US" sz="1600" kern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4" name="Freeform 123"/>
          <p:cNvSpPr>
            <a:spLocks noEditPoints="1"/>
          </p:cNvSpPr>
          <p:nvPr/>
        </p:nvSpPr>
        <p:spPr bwMode="auto">
          <a:xfrm>
            <a:off x="2739126" y="3819549"/>
            <a:ext cx="2075256" cy="1880301"/>
          </a:xfrm>
          <a:custGeom>
            <a:avLst/>
            <a:gdLst>
              <a:gd name="T0" fmla="*/ 480 w 480"/>
              <a:gd name="T1" fmla="*/ 135 h 562"/>
              <a:gd name="T2" fmla="*/ 480 w 480"/>
              <a:gd name="T3" fmla="*/ 0 h 562"/>
              <a:gd name="T4" fmla="*/ 240 w 480"/>
              <a:gd name="T5" fmla="*/ 43 h 562"/>
              <a:gd name="T6" fmla="*/ 0 w 480"/>
              <a:gd name="T7" fmla="*/ 0 h 562"/>
              <a:gd name="T8" fmla="*/ 0 w 480"/>
              <a:gd name="T9" fmla="*/ 135 h 562"/>
              <a:gd name="T10" fmla="*/ 15 w 480"/>
              <a:gd name="T11" fmla="*/ 153 h 562"/>
              <a:gd name="T12" fmla="*/ 0 w 480"/>
              <a:gd name="T13" fmla="*/ 170 h 562"/>
              <a:gd name="T14" fmla="*/ 0 w 480"/>
              <a:gd name="T15" fmla="*/ 322 h 562"/>
              <a:gd name="T16" fmla="*/ 15 w 480"/>
              <a:gd name="T17" fmla="*/ 340 h 562"/>
              <a:gd name="T18" fmla="*/ 0 w 480"/>
              <a:gd name="T19" fmla="*/ 358 h 562"/>
              <a:gd name="T20" fmla="*/ 0 w 480"/>
              <a:gd name="T21" fmla="*/ 510 h 562"/>
              <a:gd name="T22" fmla="*/ 240 w 480"/>
              <a:gd name="T23" fmla="*/ 562 h 562"/>
              <a:gd name="T24" fmla="*/ 480 w 480"/>
              <a:gd name="T25" fmla="*/ 510 h 562"/>
              <a:gd name="T26" fmla="*/ 480 w 480"/>
              <a:gd name="T27" fmla="*/ 358 h 562"/>
              <a:gd name="T28" fmla="*/ 466 w 480"/>
              <a:gd name="T29" fmla="*/ 340 h 562"/>
              <a:gd name="T30" fmla="*/ 480 w 480"/>
              <a:gd name="T31" fmla="*/ 322 h 562"/>
              <a:gd name="T32" fmla="*/ 480 w 480"/>
              <a:gd name="T33" fmla="*/ 170 h 562"/>
              <a:gd name="T34" fmla="*/ 466 w 480"/>
              <a:gd name="T35" fmla="*/ 153 h 562"/>
              <a:gd name="T36" fmla="*/ 480 w 480"/>
              <a:gd name="T37" fmla="*/ 135 h 562"/>
              <a:gd name="T38" fmla="*/ 458 w 480"/>
              <a:gd name="T39" fmla="*/ 352 h 562"/>
              <a:gd name="T40" fmla="*/ 240 w 480"/>
              <a:gd name="T41" fmla="*/ 380 h 562"/>
              <a:gd name="T42" fmla="*/ 23 w 480"/>
              <a:gd name="T43" fmla="*/ 352 h 562"/>
              <a:gd name="T44" fmla="*/ 23 w 480"/>
              <a:gd name="T45" fmla="*/ 333 h 562"/>
              <a:gd name="T46" fmla="*/ 240 w 480"/>
              <a:gd name="T47" fmla="*/ 361 h 562"/>
              <a:gd name="T48" fmla="*/ 458 w 480"/>
              <a:gd name="T49" fmla="*/ 333 h 562"/>
              <a:gd name="T50" fmla="*/ 458 w 480"/>
              <a:gd name="T51" fmla="*/ 352 h 562"/>
              <a:gd name="T52" fmla="*/ 458 w 480"/>
              <a:gd name="T53" fmla="*/ 166 h 562"/>
              <a:gd name="T54" fmla="*/ 240 w 480"/>
              <a:gd name="T55" fmla="*/ 195 h 562"/>
              <a:gd name="T56" fmla="*/ 23 w 480"/>
              <a:gd name="T57" fmla="*/ 166 h 562"/>
              <a:gd name="T58" fmla="*/ 23 w 480"/>
              <a:gd name="T59" fmla="*/ 147 h 562"/>
              <a:gd name="T60" fmla="*/ 240 w 480"/>
              <a:gd name="T61" fmla="*/ 176 h 562"/>
              <a:gd name="T62" fmla="*/ 458 w 480"/>
              <a:gd name="T63" fmla="*/ 147 h 562"/>
              <a:gd name="T64" fmla="*/ 458 w 480"/>
              <a:gd name="T65" fmla="*/ 166 h 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80" h="562">
                <a:moveTo>
                  <a:pt x="480" y="135"/>
                </a:moveTo>
                <a:cubicBezTo>
                  <a:pt x="480" y="0"/>
                  <a:pt x="480" y="0"/>
                  <a:pt x="480" y="0"/>
                </a:cubicBezTo>
                <a:cubicBezTo>
                  <a:pt x="448" y="31"/>
                  <a:pt x="326" y="43"/>
                  <a:pt x="240" y="43"/>
                </a:cubicBezTo>
                <a:cubicBezTo>
                  <a:pt x="154" y="43"/>
                  <a:pt x="32" y="31"/>
                  <a:pt x="0" y="0"/>
                </a:cubicBezTo>
                <a:cubicBezTo>
                  <a:pt x="0" y="135"/>
                  <a:pt x="0" y="135"/>
                  <a:pt x="0" y="135"/>
                </a:cubicBezTo>
                <a:cubicBezTo>
                  <a:pt x="0" y="141"/>
                  <a:pt x="5" y="147"/>
                  <a:pt x="15" y="153"/>
                </a:cubicBezTo>
                <a:cubicBezTo>
                  <a:pt x="5" y="158"/>
                  <a:pt x="0" y="164"/>
                  <a:pt x="0" y="170"/>
                </a:cubicBezTo>
                <a:cubicBezTo>
                  <a:pt x="0" y="322"/>
                  <a:pt x="0" y="322"/>
                  <a:pt x="0" y="322"/>
                </a:cubicBezTo>
                <a:cubicBezTo>
                  <a:pt x="0" y="329"/>
                  <a:pt x="5" y="335"/>
                  <a:pt x="15" y="340"/>
                </a:cubicBezTo>
                <a:cubicBezTo>
                  <a:pt x="5" y="346"/>
                  <a:pt x="0" y="351"/>
                  <a:pt x="0" y="358"/>
                </a:cubicBezTo>
                <a:cubicBezTo>
                  <a:pt x="0" y="510"/>
                  <a:pt x="0" y="510"/>
                  <a:pt x="0" y="510"/>
                </a:cubicBezTo>
                <a:cubicBezTo>
                  <a:pt x="0" y="538"/>
                  <a:pt x="108" y="562"/>
                  <a:pt x="240" y="562"/>
                </a:cubicBezTo>
                <a:cubicBezTo>
                  <a:pt x="373" y="562"/>
                  <a:pt x="480" y="538"/>
                  <a:pt x="480" y="510"/>
                </a:cubicBezTo>
                <a:cubicBezTo>
                  <a:pt x="480" y="358"/>
                  <a:pt x="480" y="358"/>
                  <a:pt x="480" y="358"/>
                </a:cubicBezTo>
                <a:cubicBezTo>
                  <a:pt x="480" y="351"/>
                  <a:pt x="475" y="346"/>
                  <a:pt x="466" y="340"/>
                </a:cubicBezTo>
                <a:cubicBezTo>
                  <a:pt x="475" y="335"/>
                  <a:pt x="480" y="329"/>
                  <a:pt x="480" y="322"/>
                </a:cubicBezTo>
                <a:cubicBezTo>
                  <a:pt x="480" y="170"/>
                  <a:pt x="480" y="170"/>
                  <a:pt x="480" y="170"/>
                </a:cubicBezTo>
                <a:cubicBezTo>
                  <a:pt x="480" y="164"/>
                  <a:pt x="475" y="158"/>
                  <a:pt x="466" y="153"/>
                </a:cubicBezTo>
                <a:cubicBezTo>
                  <a:pt x="475" y="147"/>
                  <a:pt x="480" y="141"/>
                  <a:pt x="480" y="135"/>
                </a:cubicBezTo>
                <a:close/>
                <a:moveTo>
                  <a:pt x="458" y="352"/>
                </a:moveTo>
                <a:cubicBezTo>
                  <a:pt x="458" y="368"/>
                  <a:pt x="361" y="380"/>
                  <a:pt x="240" y="380"/>
                </a:cubicBezTo>
                <a:cubicBezTo>
                  <a:pt x="120" y="380"/>
                  <a:pt x="23" y="368"/>
                  <a:pt x="23" y="352"/>
                </a:cubicBezTo>
                <a:cubicBezTo>
                  <a:pt x="23" y="333"/>
                  <a:pt x="23" y="333"/>
                  <a:pt x="23" y="333"/>
                </a:cubicBezTo>
                <a:cubicBezTo>
                  <a:pt x="23" y="349"/>
                  <a:pt x="120" y="361"/>
                  <a:pt x="240" y="361"/>
                </a:cubicBezTo>
                <a:cubicBezTo>
                  <a:pt x="361" y="361"/>
                  <a:pt x="458" y="349"/>
                  <a:pt x="458" y="333"/>
                </a:cubicBezTo>
                <a:lnTo>
                  <a:pt x="458" y="352"/>
                </a:lnTo>
                <a:close/>
                <a:moveTo>
                  <a:pt x="458" y="166"/>
                </a:moveTo>
                <a:cubicBezTo>
                  <a:pt x="458" y="182"/>
                  <a:pt x="361" y="195"/>
                  <a:pt x="240" y="195"/>
                </a:cubicBezTo>
                <a:cubicBezTo>
                  <a:pt x="120" y="195"/>
                  <a:pt x="23" y="182"/>
                  <a:pt x="23" y="166"/>
                </a:cubicBezTo>
                <a:cubicBezTo>
                  <a:pt x="23" y="147"/>
                  <a:pt x="23" y="147"/>
                  <a:pt x="23" y="147"/>
                </a:cubicBezTo>
                <a:cubicBezTo>
                  <a:pt x="23" y="163"/>
                  <a:pt x="120" y="176"/>
                  <a:pt x="240" y="176"/>
                </a:cubicBezTo>
                <a:cubicBezTo>
                  <a:pt x="361" y="176"/>
                  <a:pt x="458" y="163"/>
                  <a:pt x="458" y="147"/>
                </a:cubicBezTo>
                <a:lnTo>
                  <a:pt x="458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defTabSz="913874">
              <a:defRPr/>
            </a:pPr>
            <a:endParaRPr lang="en-US" sz="1600" ker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Rectangle 153"/>
          <p:cNvSpPr/>
          <p:nvPr/>
        </p:nvSpPr>
        <p:spPr>
          <a:xfrm>
            <a:off x="4344180" y="4412715"/>
            <a:ext cx="267135" cy="308923"/>
          </a:xfrm>
          <a:custGeom>
            <a:avLst/>
            <a:gdLst>
              <a:gd name="connsiteX0" fmla="*/ 0 w 300129"/>
              <a:gd name="connsiteY0" fmla="*/ 0 h 384583"/>
              <a:gd name="connsiteX1" fmla="*/ 300129 w 300129"/>
              <a:gd name="connsiteY1" fmla="*/ 0 h 384583"/>
              <a:gd name="connsiteX2" fmla="*/ 300129 w 300129"/>
              <a:gd name="connsiteY2" fmla="*/ 384583 h 384583"/>
              <a:gd name="connsiteX3" fmla="*/ 0 w 300129"/>
              <a:gd name="connsiteY3" fmla="*/ 384583 h 384583"/>
              <a:gd name="connsiteX4" fmla="*/ 0 w 300129"/>
              <a:gd name="connsiteY4" fmla="*/ 0 h 384583"/>
              <a:gd name="connsiteX0" fmla="*/ 0 w 300129"/>
              <a:gd name="connsiteY0" fmla="*/ 0 h 384583"/>
              <a:gd name="connsiteX1" fmla="*/ 300129 w 300129"/>
              <a:gd name="connsiteY1" fmla="*/ 0 h 384583"/>
              <a:gd name="connsiteX2" fmla="*/ 266792 w 300129"/>
              <a:gd name="connsiteY2" fmla="*/ 339339 h 384583"/>
              <a:gd name="connsiteX3" fmla="*/ 0 w 300129"/>
              <a:gd name="connsiteY3" fmla="*/ 384583 h 384583"/>
              <a:gd name="connsiteX4" fmla="*/ 0 w 300129"/>
              <a:gd name="connsiteY4" fmla="*/ 0 h 384583"/>
              <a:gd name="connsiteX0" fmla="*/ 0 w 300129"/>
              <a:gd name="connsiteY0" fmla="*/ 0 h 384583"/>
              <a:gd name="connsiteX1" fmla="*/ 300129 w 300129"/>
              <a:gd name="connsiteY1" fmla="*/ 0 h 384583"/>
              <a:gd name="connsiteX2" fmla="*/ 266792 w 300129"/>
              <a:gd name="connsiteY2" fmla="*/ 339339 h 384583"/>
              <a:gd name="connsiteX3" fmla="*/ 0 w 300129"/>
              <a:gd name="connsiteY3" fmla="*/ 384583 h 384583"/>
              <a:gd name="connsiteX4" fmla="*/ 0 w 300129"/>
              <a:gd name="connsiteY4" fmla="*/ 0 h 384583"/>
              <a:gd name="connsiteX0" fmla="*/ 0 w 311074"/>
              <a:gd name="connsiteY0" fmla="*/ 0 h 384583"/>
              <a:gd name="connsiteX1" fmla="*/ 300129 w 311074"/>
              <a:gd name="connsiteY1" fmla="*/ 0 h 384583"/>
              <a:gd name="connsiteX2" fmla="*/ 266792 w 311074"/>
              <a:gd name="connsiteY2" fmla="*/ 339339 h 384583"/>
              <a:gd name="connsiteX3" fmla="*/ 0 w 311074"/>
              <a:gd name="connsiteY3" fmla="*/ 384583 h 384583"/>
              <a:gd name="connsiteX4" fmla="*/ 0 w 311074"/>
              <a:gd name="connsiteY4" fmla="*/ 0 h 384583"/>
              <a:gd name="connsiteX0" fmla="*/ 0 w 321872"/>
              <a:gd name="connsiteY0" fmla="*/ 0 h 384583"/>
              <a:gd name="connsiteX1" fmla="*/ 300129 w 321872"/>
              <a:gd name="connsiteY1" fmla="*/ 0 h 384583"/>
              <a:gd name="connsiteX2" fmla="*/ 266792 w 321872"/>
              <a:gd name="connsiteY2" fmla="*/ 339339 h 384583"/>
              <a:gd name="connsiteX3" fmla="*/ 0 w 321872"/>
              <a:gd name="connsiteY3" fmla="*/ 384583 h 384583"/>
              <a:gd name="connsiteX4" fmla="*/ 0 w 321872"/>
              <a:gd name="connsiteY4" fmla="*/ 0 h 384583"/>
              <a:gd name="connsiteX0" fmla="*/ 0 w 300129"/>
              <a:gd name="connsiteY0" fmla="*/ 0 h 384583"/>
              <a:gd name="connsiteX1" fmla="*/ 300129 w 300129"/>
              <a:gd name="connsiteY1" fmla="*/ 0 h 384583"/>
              <a:gd name="connsiteX2" fmla="*/ 0 w 300129"/>
              <a:gd name="connsiteY2" fmla="*/ 384583 h 384583"/>
              <a:gd name="connsiteX3" fmla="*/ 0 w 300129"/>
              <a:gd name="connsiteY3" fmla="*/ 0 h 384583"/>
              <a:gd name="connsiteX0" fmla="*/ 0 w 302713"/>
              <a:gd name="connsiteY0" fmla="*/ 0 h 384583"/>
              <a:gd name="connsiteX1" fmla="*/ 300129 w 302713"/>
              <a:gd name="connsiteY1" fmla="*/ 0 h 384583"/>
              <a:gd name="connsiteX2" fmla="*/ 0 w 302713"/>
              <a:gd name="connsiteY2" fmla="*/ 384583 h 384583"/>
              <a:gd name="connsiteX3" fmla="*/ 0 w 302713"/>
              <a:gd name="connsiteY3" fmla="*/ 0 h 384583"/>
              <a:gd name="connsiteX0" fmla="*/ 0 w 302915"/>
              <a:gd name="connsiteY0" fmla="*/ 0 h 384688"/>
              <a:gd name="connsiteX1" fmla="*/ 300129 w 302915"/>
              <a:gd name="connsiteY1" fmla="*/ 0 h 384688"/>
              <a:gd name="connsiteX2" fmla="*/ 0 w 302915"/>
              <a:gd name="connsiteY2" fmla="*/ 384583 h 384688"/>
              <a:gd name="connsiteX3" fmla="*/ 0 w 302915"/>
              <a:gd name="connsiteY3" fmla="*/ 0 h 384688"/>
              <a:gd name="connsiteX0" fmla="*/ 0 w 303865"/>
              <a:gd name="connsiteY0" fmla="*/ 0 h 384688"/>
              <a:gd name="connsiteX1" fmla="*/ 300129 w 303865"/>
              <a:gd name="connsiteY1" fmla="*/ 0 h 384688"/>
              <a:gd name="connsiteX2" fmla="*/ 0 w 303865"/>
              <a:gd name="connsiteY2" fmla="*/ 384583 h 384688"/>
              <a:gd name="connsiteX3" fmla="*/ 0 w 303865"/>
              <a:gd name="connsiteY3" fmla="*/ 0 h 384688"/>
              <a:gd name="connsiteX0" fmla="*/ 0 w 303865"/>
              <a:gd name="connsiteY0" fmla="*/ 0 h 384700"/>
              <a:gd name="connsiteX1" fmla="*/ 300129 w 303865"/>
              <a:gd name="connsiteY1" fmla="*/ 0 h 384700"/>
              <a:gd name="connsiteX2" fmla="*/ 0 w 303865"/>
              <a:gd name="connsiteY2" fmla="*/ 384583 h 384700"/>
              <a:gd name="connsiteX3" fmla="*/ 0 w 303865"/>
              <a:gd name="connsiteY3" fmla="*/ 0 h 384700"/>
              <a:gd name="connsiteX0" fmla="*/ 0 w 304322"/>
              <a:gd name="connsiteY0" fmla="*/ 0 h 384583"/>
              <a:gd name="connsiteX1" fmla="*/ 300129 w 304322"/>
              <a:gd name="connsiteY1" fmla="*/ 0 h 384583"/>
              <a:gd name="connsiteX2" fmla="*/ 0 w 304322"/>
              <a:gd name="connsiteY2" fmla="*/ 384583 h 384583"/>
              <a:gd name="connsiteX3" fmla="*/ 0 w 304322"/>
              <a:gd name="connsiteY3" fmla="*/ 0 h 384583"/>
              <a:gd name="connsiteX0" fmla="*/ 0 w 301605"/>
              <a:gd name="connsiteY0" fmla="*/ 0 h 384583"/>
              <a:gd name="connsiteX1" fmla="*/ 300129 w 301605"/>
              <a:gd name="connsiteY1" fmla="*/ 0 h 384583"/>
              <a:gd name="connsiteX2" fmla="*/ 0 w 301605"/>
              <a:gd name="connsiteY2" fmla="*/ 384583 h 384583"/>
              <a:gd name="connsiteX3" fmla="*/ 0 w 301605"/>
              <a:gd name="connsiteY3" fmla="*/ 0 h 384583"/>
              <a:gd name="connsiteX0" fmla="*/ 0 w 301447"/>
              <a:gd name="connsiteY0" fmla="*/ 0 h 402570"/>
              <a:gd name="connsiteX1" fmla="*/ 300129 w 301447"/>
              <a:gd name="connsiteY1" fmla="*/ 0 h 402570"/>
              <a:gd name="connsiteX2" fmla="*/ 0 w 301447"/>
              <a:gd name="connsiteY2" fmla="*/ 384583 h 402570"/>
              <a:gd name="connsiteX3" fmla="*/ 0 w 301447"/>
              <a:gd name="connsiteY3" fmla="*/ 0 h 402570"/>
              <a:gd name="connsiteX0" fmla="*/ 2234 w 303665"/>
              <a:gd name="connsiteY0" fmla="*/ 0 h 410060"/>
              <a:gd name="connsiteX1" fmla="*/ 302363 w 303665"/>
              <a:gd name="connsiteY1" fmla="*/ 0 h 410060"/>
              <a:gd name="connsiteX2" fmla="*/ 0 w 303665"/>
              <a:gd name="connsiteY2" fmla="*/ 392382 h 410060"/>
              <a:gd name="connsiteX3" fmla="*/ 2234 w 303665"/>
              <a:gd name="connsiteY3" fmla="*/ 0 h 410060"/>
              <a:gd name="connsiteX0" fmla="*/ 2234 w 303680"/>
              <a:gd name="connsiteY0" fmla="*/ 0 h 403956"/>
              <a:gd name="connsiteX1" fmla="*/ 302363 w 303680"/>
              <a:gd name="connsiteY1" fmla="*/ 0 h 403956"/>
              <a:gd name="connsiteX2" fmla="*/ 0 w 303680"/>
              <a:gd name="connsiteY2" fmla="*/ 392382 h 403956"/>
              <a:gd name="connsiteX3" fmla="*/ 2234 w 303680"/>
              <a:gd name="connsiteY3" fmla="*/ 0 h 403956"/>
              <a:gd name="connsiteX0" fmla="*/ 2234 w 303782"/>
              <a:gd name="connsiteY0" fmla="*/ 0 h 392382"/>
              <a:gd name="connsiteX1" fmla="*/ 302363 w 303782"/>
              <a:gd name="connsiteY1" fmla="*/ 0 h 392382"/>
              <a:gd name="connsiteX2" fmla="*/ 0 w 303782"/>
              <a:gd name="connsiteY2" fmla="*/ 392382 h 392382"/>
              <a:gd name="connsiteX3" fmla="*/ 2234 w 303782"/>
              <a:gd name="connsiteY3" fmla="*/ 0 h 392382"/>
              <a:gd name="connsiteX0" fmla="*/ 2234 w 302363"/>
              <a:gd name="connsiteY0" fmla="*/ 0 h 392382"/>
              <a:gd name="connsiteX1" fmla="*/ 302363 w 302363"/>
              <a:gd name="connsiteY1" fmla="*/ 0 h 392382"/>
              <a:gd name="connsiteX2" fmla="*/ 0 w 302363"/>
              <a:gd name="connsiteY2" fmla="*/ 392382 h 392382"/>
              <a:gd name="connsiteX3" fmla="*/ 2234 w 302363"/>
              <a:gd name="connsiteY3" fmla="*/ 0 h 392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363" h="392382">
                <a:moveTo>
                  <a:pt x="2234" y="0"/>
                </a:moveTo>
                <a:lnTo>
                  <a:pt x="302363" y="0"/>
                </a:lnTo>
                <a:cubicBezTo>
                  <a:pt x="255395" y="120404"/>
                  <a:pt x="167159" y="364972"/>
                  <a:pt x="0" y="392382"/>
                </a:cubicBezTo>
                <a:cubicBezTo>
                  <a:pt x="745" y="261588"/>
                  <a:pt x="1489" y="130794"/>
                  <a:pt x="2234" y="0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lIns="18277" tIns="18277" rIns="18277" bIns="18277" rtlCol="0" anchor="t"/>
          <a:lstStyle/>
          <a:p>
            <a:pPr algn="ctr" defTabSz="913698">
              <a:defRPr/>
            </a:pPr>
            <a:endParaRPr lang="en-IN" sz="600" kern="0" dirty="0">
              <a:solidFill>
                <a:srgbClr val="FF8C00"/>
              </a:solidFill>
              <a:latin typeface="+mj-lt"/>
              <a:cs typeface="Segoe UI Semibold" panose="020B0702040204020203" pitchFamily="34" charset="0"/>
            </a:endParaRPr>
          </a:p>
        </p:txBody>
      </p:sp>
      <p:sp>
        <p:nvSpPr>
          <p:cNvPr id="28" name="Freeform 35"/>
          <p:cNvSpPr/>
          <p:nvPr>
            <p:custDataLst>
              <p:tags r:id="rId1"/>
            </p:custDataLst>
          </p:nvPr>
        </p:nvSpPr>
        <p:spPr bwMode="auto">
          <a:xfrm rot="10800000">
            <a:off x="4323192" y="4398444"/>
            <a:ext cx="295486" cy="337465"/>
          </a:xfrm>
          <a:custGeom>
            <a:avLst/>
            <a:gdLst>
              <a:gd name="connsiteX0" fmla="*/ 342979 w 343786"/>
              <a:gd name="connsiteY0" fmla="*/ 392623 h 392623"/>
              <a:gd name="connsiteX1" fmla="*/ 29955 w 343786"/>
              <a:gd name="connsiteY1" fmla="*/ 392623 h 392623"/>
              <a:gd name="connsiteX2" fmla="*/ 105 w 343786"/>
              <a:gd name="connsiteY2" fmla="*/ 362773 h 392623"/>
              <a:gd name="connsiteX3" fmla="*/ 0 w 343786"/>
              <a:gd name="connsiteY3" fmla="*/ 328722 h 392623"/>
              <a:gd name="connsiteX4" fmla="*/ 23964 w 343786"/>
              <a:gd name="connsiteY4" fmla="*/ 328722 h 392623"/>
              <a:gd name="connsiteX5" fmla="*/ 23898 w 343786"/>
              <a:gd name="connsiteY5" fmla="*/ 345024 h 392623"/>
              <a:gd name="connsiteX6" fmla="*/ 44067 w 343786"/>
              <a:gd name="connsiteY6" fmla="*/ 369227 h 392623"/>
              <a:gd name="connsiteX7" fmla="*/ 319173 w 343786"/>
              <a:gd name="connsiteY7" fmla="*/ 367614 h 392623"/>
              <a:gd name="connsiteX8" fmla="*/ 319173 w 343786"/>
              <a:gd name="connsiteY8" fmla="*/ 51363 h 392623"/>
              <a:gd name="connsiteX9" fmla="*/ 294970 w 343786"/>
              <a:gd name="connsiteY9" fmla="*/ 23933 h 392623"/>
              <a:gd name="connsiteX10" fmla="*/ 276999 w 343786"/>
              <a:gd name="connsiteY10" fmla="*/ 23849 h 392623"/>
              <a:gd name="connsiteX11" fmla="*/ 277053 w 343786"/>
              <a:gd name="connsiteY11" fmla="*/ 0 h 392623"/>
              <a:gd name="connsiteX12" fmla="*/ 309741 w 343786"/>
              <a:gd name="connsiteY12" fmla="*/ 53 h 392623"/>
              <a:gd name="connsiteX13" fmla="*/ 343786 w 343786"/>
              <a:gd name="connsiteY13" fmla="*/ 38455 h 392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43786" h="392623">
                <a:moveTo>
                  <a:pt x="342979" y="392623"/>
                </a:moveTo>
                <a:lnTo>
                  <a:pt x="29955" y="392623"/>
                </a:lnTo>
                <a:cubicBezTo>
                  <a:pt x="11131" y="391548"/>
                  <a:pt x="2794" y="377564"/>
                  <a:pt x="105" y="362773"/>
                </a:cubicBezTo>
                <a:lnTo>
                  <a:pt x="0" y="328722"/>
                </a:lnTo>
                <a:lnTo>
                  <a:pt x="23964" y="328722"/>
                </a:lnTo>
                <a:lnTo>
                  <a:pt x="23898" y="345024"/>
                </a:lnTo>
                <a:cubicBezTo>
                  <a:pt x="26587" y="354706"/>
                  <a:pt x="26856" y="365193"/>
                  <a:pt x="44067" y="369227"/>
                </a:cubicBezTo>
                <a:lnTo>
                  <a:pt x="319173" y="367614"/>
                </a:lnTo>
                <a:lnTo>
                  <a:pt x="319173" y="51363"/>
                </a:lnTo>
                <a:cubicBezTo>
                  <a:pt x="319442" y="40606"/>
                  <a:pt x="315678" y="23395"/>
                  <a:pt x="294970" y="23933"/>
                </a:cubicBezTo>
                <a:lnTo>
                  <a:pt x="276999" y="23849"/>
                </a:lnTo>
                <a:lnTo>
                  <a:pt x="277053" y="0"/>
                </a:lnTo>
                <a:lnTo>
                  <a:pt x="309741" y="53"/>
                </a:lnTo>
                <a:cubicBezTo>
                  <a:pt x="338246" y="3549"/>
                  <a:pt x="342979" y="23395"/>
                  <a:pt x="343786" y="38455"/>
                </a:cubicBezTo>
                <a:close/>
              </a:path>
            </a:pathLst>
          </a:custGeom>
          <a:solidFill>
            <a:srgbClr val="0078D7"/>
          </a:solidFill>
          <a:ln>
            <a:noFill/>
          </a:ln>
          <a:extLst/>
        </p:spPr>
        <p:txBody>
          <a:bodyPr rot="0" spcFirstLastPara="0" vertOverflow="overflow" horzOverflow="overflow" vert="horz" wrap="square" lIns="91388" tIns="45694" rIns="91388" bIns="456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98">
              <a:defRPr/>
            </a:pPr>
            <a:endParaRPr lang="en-US" sz="700" ker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29" name="Rectangle 153"/>
          <p:cNvSpPr>
            <a:spLocks noChangeAspect="1"/>
          </p:cNvSpPr>
          <p:nvPr/>
        </p:nvSpPr>
        <p:spPr>
          <a:xfrm>
            <a:off x="4387433" y="4460269"/>
            <a:ext cx="281072" cy="311789"/>
          </a:xfrm>
          <a:custGeom>
            <a:avLst/>
            <a:gdLst>
              <a:gd name="connsiteX0" fmla="*/ 0 w 300129"/>
              <a:gd name="connsiteY0" fmla="*/ 0 h 384583"/>
              <a:gd name="connsiteX1" fmla="*/ 300129 w 300129"/>
              <a:gd name="connsiteY1" fmla="*/ 0 h 384583"/>
              <a:gd name="connsiteX2" fmla="*/ 300129 w 300129"/>
              <a:gd name="connsiteY2" fmla="*/ 384583 h 384583"/>
              <a:gd name="connsiteX3" fmla="*/ 0 w 300129"/>
              <a:gd name="connsiteY3" fmla="*/ 384583 h 384583"/>
              <a:gd name="connsiteX4" fmla="*/ 0 w 300129"/>
              <a:gd name="connsiteY4" fmla="*/ 0 h 384583"/>
              <a:gd name="connsiteX0" fmla="*/ 0 w 300129"/>
              <a:gd name="connsiteY0" fmla="*/ 0 h 384583"/>
              <a:gd name="connsiteX1" fmla="*/ 300129 w 300129"/>
              <a:gd name="connsiteY1" fmla="*/ 0 h 384583"/>
              <a:gd name="connsiteX2" fmla="*/ 266792 w 300129"/>
              <a:gd name="connsiteY2" fmla="*/ 339339 h 384583"/>
              <a:gd name="connsiteX3" fmla="*/ 0 w 300129"/>
              <a:gd name="connsiteY3" fmla="*/ 384583 h 384583"/>
              <a:gd name="connsiteX4" fmla="*/ 0 w 300129"/>
              <a:gd name="connsiteY4" fmla="*/ 0 h 384583"/>
              <a:gd name="connsiteX0" fmla="*/ 0 w 300129"/>
              <a:gd name="connsiteY0" fmla="*/ 0 h 384583"/>
              <a:gd name="connsiteX1" fmla="*/ 300129 w 300129"/>
              <a:gd name="connsiteY1" fmla="*/ 0 h 384583"/>
              <a:gd name="connsiteX2" fmla="*/ 266792 w 300129"/>
              <a:gd name="connsiteY2" fmla="*/ 339339 h 384583"/>
              <a:gd name="connsiteX3" fmla="*/ 0 w 300129"/>
              <a:gd name="connsiteY3" fmla="*/ 384583 h 384583"/>
              <a:gd name="connsiteX4" fmla="*/ 0 w 300129"/>
              <a:gd name="connsiteY4" fmla="*/ 0 h 384583"/>
              <a:gd name="connsiteX0" fmla="*/ 0 w 311074"/>
              <a:gd name="connsiteY0" fmla="*/ 0 h 384583"/>
              <a:gd name="connsiteX1" fmla="*/ 300129 w 311074"/>
              <a:gd name="connsiteY1" fmla="*/ 0 h 384583"/>
              <a:gd name="connsiteX2" fmla="*/ 266792 w 311074"/>
              <a:gd name="connsiteY2" fmla="*/ 339339 h 384583"/>
              <a:gd name="connsiteX3" fmla="*/ 0 w 311074"/>
              <a:gd name="connsiteY3" fmla="*/ 384583 h 384583"/>
              <a:gd name="connsiteX4" fmla="*/ 0 w 311074"/>
              <a:gd name="connsiteY4" fmla="*/ 0 h 384583"/>
              <a:gd name="connsiteX0" fmla="*/ 0 w 321872"/>
              <a:gd name="connsiteY0" fmla="*/ 0 h 384583"/>
              <a:gd name="connsiteX1" fmla="*/ 300129 w 321872"/>
              <a:gd name="connsiteY1" fmla="*/ 0 h 384583"/>
              <a:gd name="connsiteX2" fmla="*/ 266792 w 321872"/>
              <a:gd name="connsiteY2" fmla="*/ 339339 h 384583"/>
              <a:gd name="connsiteX3" fmla="*/ 0 w 321872"/>
              <a:gd name="connsiteY3" fmla="*/ 384583 h 384583"/>
              <a:gd name="connsiteX4" fmla="*/ 0 w 321872"/>
              <a:gd name="connsiteY4" fmla="*/ 0 h 384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872" h="384583">
                <a:moveTo>
                  <a:pt x="0" y="0"/>
                </a:moveTo>
                <a:lnTo>
                  <a:pt x="300129" y="0"/>
                </a:lnTo>
                <a:cubicBezTo>
                  <a:pt x="319973" y="53582"/>
                  <a:pt x="349341" y="276233"/>
                  <a:pt x="266792" y="339339"/>
                </a:cubicBezTo>
                <a:cubicBezTo>
                  <a:pt x="204055" y="397282"/>
                  <a:pt x="88931" y="369502"/>
                  <a:pt x="0" y="384583"/>
                </a:cubicBezTo>
                <a:lnTo>
                  <a:pt x="0" y="0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lIns="18277" tIns="18277" rIns="18277" bIns="18277" rtlCol="0" anchor="t"/>
          <a:lstStyle/>
          <a:p>
            <a:pPr algn="ctr" defTabSz="913698">
              <a:defRPr/>
            </a:pPr>
            <a:r>
              <a:rPr lang="en-IN" sz="600" kern="0" dirty="0">
                <a:solidFill>
                  <a:srgbClr val="0078D7"/>
                </a:solidFill>
                <a:latin typeface="+mj-lt"/>
                <a:cs typeface="Segoe UI Semibold" panose="020B0702040204020203" pitchFamily="34" charset="0"/>
              </a:rPr>
              <a:t>010010</a:t>
            </a:r>
          </a:p>
          <a:p>
            <a:pPr algn="ctr" defTabSz="913698">
              <a:defRPr/>
            </a:pPr>
            <a:r>
              <a:rPr lang="en-IN" sz="600" kern="0" dirty="0">
                <a:solidFill>
                  <a:srgbClr val="0078D7"/>
                </a:solidFill>
                <a:latin typeface="+mj-lt"/>
                <a:cs typeface="Segoe UI Semibold" panose="020B0702040204020203" pitchFamily="34" charset="0"/>
              </a:rPr>
              <a:t>100100</a:t>
            </a:r>
          </a:p>
          <a:p>
            <a:pPr algn="ctr" defTabSz="913698">
              <a:defRPr/>
            </a:pPr>
            <a:r>
              <a:rPr lang="en-IN" sz="600" kern="0" dirty="0">
                <a:solidFill>
                  <a:srgbClr val="0078D7"/>
                </a:solidFill>
                <a:latin typeface="+mj-lt"/>
                <a:cs typeface="Segoe UI Semibold" panose="020B0702040204020203" pitchFamily="34" charset="0"/>
              </a:rPr>
              <a:t>010101</a:t>
            </a:r>
          </a:p>
        </p:txBody>
      </p:sp>
      <p:sp>
        <p:nvSpPr>
          <p:cNvPr id="30" name="Freeform 37"/>
          <p:cNvSpPr/>
          <p:nvPr>
            <p:custDataLst>
              <p:tags r:id="rId2"/>
            </p:custDataLst>
          </p:nvPr>
        </p:nvSpPr>
        <p:spPr bwMode="auto">
          <a:xfrm rot="10800000">
            <a:off x="4377181" y="4450277"/>
            <a:ext cx="296089" cy="337697"/>
          </a:xfrm>
          <a:custGeom>
            <a:avLst/>
            <a:gdLst>
              <a:gd name="connsiteX0" fmla="*/ 304539 w 847199"/>
              <a:gd name="connsiteY0" fmla="*/ 57538 h 966241"/>
              <a:gd name="connsiteX1" fmla="*/ 302555 w 847199"/>
              <a:gd name="connsiteY1" fmla="*/ 230813 h 966241"/>
              <a:gd name="connsiteX2" fmla="*/ 239727 w 847199"/>
              <a:gd name="connsiteY2" fmla="*/ 276447 h 966241"/>
              <a:gd name="connsiteX3" fmla="*/ 62813 w 847199"/>
              <a:gd name="connsiteY3" fmla="*/ 276116 h 966241"/>
              <a:gd name="connsiteX4" fmla="*/ 60499 w 847199"/>
              <a:gd name="connsiteY4" fmla="*/ 849181 h 966241"/>
              <a:gd name="connsiteX5" fmla="*/ 110100 w 847199"/>
              <a:gd name="connsiteY5" fmla="*/ 908703 h 966241"/>
              <a:gd name="connsiteX6" fmla="*/ 786669 w 847199"/>
              <a:gd name="connsiteY6" fmla="*/ 904735 h 966241"/>
              <a:gd name="connsiteX7" fmla="*/ 786669 w 847199"/>
              <a:gd name="connsiteY7" fmla="*/ 126980 h 966241"/>
              <a:gd name="connsiteX8" fmla="*/ 727147 w 847199"/>
              <a:gd name="connsiteY8" fmla="*/ 59522 h 966241"/>
              <a:gd name="connsiteX9" fmla="*/ 279755 w 847199"/>
              <a:gd name="connsiteY9" fmla="*/ 0 h 966241"/>
              <a:gd name="connsiteX10" fmla="*/ 763472 w 847199"/>
              <a:gd name="connsiteY10" fmla="*/ 794 h 966241"/>
              <a:gd name="connsiteX11" fmla="*/ 847199 w 847199"/>
              <a:gd name="connsiteY11" fmla="*/ 95235 h 966241"/>
              <a:gd name="connsiteX12" fmla="*/ 845215 w 847199"/>
              <a:gd name="connsiteY12" fmla="*/ 966241 h 966241"/>
              <a:gd name="connsiteX13" fmla="*/ 75395 w 847199"/>
              <a:gd name="connsiteY13" fmla="*/ 966241 h 966241"/>
              <a:gd name="connsiteX14" fmla="*/ 1984 w 847199"/>
              <a:gd name="connsiteY14" fmla="*/ 892830 h 966241"/>
              <a:gd name="connsiteX15" fmla="*/ 0 w 847199"/>
              <a:gd name="connsiteY15" fmla="*/ 248008 h 966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47199" h="966241">
                <a:moveTo>
                  <a:pt x="304539" y="57538"/>
                </a:moveTo>
                <a:cubicBezTo>
                  <a:pt x="303878" y="115738"/>
                  <a:pt x="305862" y="171291"/>
                  <a:pt x="302555" y="230813"/>
                </a:cubicBezTo>
                <a:cubicBezTo>
                  <a:pt x="295942" y="265865"/>
                  <a:pt x="283376" y="273140"/>
                  <a:pt x="239727" y="276447"/>
                </a:cubicBezTo>
                <a:lnTo>
                  <a:pt x="62813" y="276116"/>
                </a:lnTo>
                <a:cubicBezTo>
                  <a:pt x="62373" y="466807"/>
                  <a:pt x="60940" y="658490"/>
                  <a:pt x="60499" y="849181"/>
                </a:cubicBezTo>
                <a:cubicBezTo>
                  <a:pt x="67112" y="872990"/>
                  <a:pt x="67773" y="898783"/>
                  <a:pt x="110100" y="908703"/>
                </a:cubicBezTo>
                <a:lnTo>
                  <a:pt x="786669" y="904735"/>
                </a:lnTo>
                <a:lnTo>
                  <a:pt x="786669" y="126980"/>
                </a:lnTo>
                <a:cubicBezTo>
                  <a:pt x="787330" y="100526"/>
                  <a:pt x="778072" y="58199"/>
                  <a:pt x="727147" y="59522"/>
                </a:cubicBezTo>
                <a:close/>
                <a:moveTo>
                  <a:pt x="279755" y="0"/>
                </a:moveTo>
                <a:lnTo>
                  <a:pt x="763472" y="794"/>
                </a:lnTo>
                <a:cubicBezTo>
                  <a:pt x="833575" y="9391"/>
                  <a:pt x="845215" y="58199"/>
                  <a:pt x="847199" y="95235"/>
                </a:cubicBezTo>
                <a:lnTo>
                  <a:pt x="845215" y="966241"/>
                </a:lnTo>
                <a:lnTo>
                  <a:pt x="75395" y="966241"/>
                </a:lnTo>
                <a:cubicBezTo>
                  <a:pt x="29100" y="963596"/>
                  <a:pt x="8598" y="929205"/>
                  <a:pt x="1984" y="892830"/>
                </a:cubicBezTo>
                <a:lnTo>
                  <a:pt x="0" y="248008"/>
                </a:lnTo>
                <a:close/>
              </a:path>
            </a:pathLst>
          </a:custGeom>
          <a:solidFill>
            <a:srgbClr val="0078D7"/>
          </a:solidFill>
          <a:ln>
            <a:noFill/>
          </a:ln>
          <a:extLst/>
        </p:spPr>
        <p:txBody>
          <a:bodyPr rot="0" spcFirstLastPara="0" vertOverflow="overflow" horzOverflow="overflow" vert="horz" wrap="square" lIns="91388" tIns="45694" rIns="91388" bIns="456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98">
              <a:defRPr/>
            </a:pPr>
            <a:endParaRPr lang="en-US" sz="700" ker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38245" y="5150750"/>
            <a:ext cx="2076135" cy="24608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3698"/>
            <a:r>
              <a:rPr lang="en-US" sz="1200" kern="0" dirty="0">
                <a:solidFill>
                  <a:schemeClr val="bg2"/>
                </a:solidFill>
                <a:latin typeface="+mj-lt"/>
                <a:cs typeface="Segoe UI Semibold" panose="020B0702040204020203" pitchFamily="34" charset="0"/>
              </a:rPr>
              <a:t>Relational Data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4507542" y="5125550"/>
            <a:ext cx="222062" cy="262533"/>
            <a:chOff x="4513410" y="4982352"/>
            <a:chExt cx="222094" cy="262570"/>
          </a:xfrm>
        </p:grpSpPr>
        <p:sp>
          <p:nvSpPr>
            <p:cNvPr id="33" name="Freeform 40"/>
            <p:cNvSpPr>
              <a:spLocks noChangeAspect="1"/>
            </p:cNvSpPr>
            <p:nvPr/>
          </p:nvSpPr>
          <p:spPr bwMode="auto">
            <a:xfrm rot="5400000">
              <a:off x="4493172" y="5002590"/>
              <a:ext cx="262570" cy="222094"/>
            </a:xfrm>
            <a:custGeom>
              <a:avLst/>
              <a:gdLst>
                <a:gd name="connsiteX0" fmla="*/ 678350 w 1481959"/>
                <a:gd name="connsiteY0" fmla="*/ 258990 h 962317"/>
                <a:gd name="connsiteX1" fmla="*/ 688805 w 1481959"/>
                <a:gd name="connsiteY1" fmla="*/ 259224 h 962317"/>
                <a:gd name="connsiteX2" fmla="*/ 971484 w 1481959"/>
                <a:gd name="connsiteY2" fmla="*/ 259224 h 962317"/>
                <a:gd name="connsiteX3" fmla="*/ 1006067 w 1481959"/>
                <a:gd name="connsiteY3" fmla="*/ 292305 h 962317"/>
                <a:gd name="connsiteX4" fmla="*/ 1006067 w 1481959"/>
                <a:gd name="connsiteY4" fmla="*/ 576488 h 962317"/>
                <a:gd name="connsiteX5" fmla="*/ 1004269 w 1481959"/>
                <a:gd name="connsiteY5" fmla="*/ 595185 h 962317"/>
                <a:gd name="connsiteX6" fmla="*/ 996845 w 1481959"/>
                <a:gd name="connsiteY6" fmla="*/ 596703 h 962317"/>
                <a:gd name="connsiteX7" fmla="*/ 946477 w 1481959"/>
                <a:gd name="connsiteY7" fmla="*/ 546841 h 962317"/>
                <a:gd name="connsiteX8" fmla="*/ 903068 w 1481959"/>
                <a:gd name="connsiteY8" fmla="*/ 547059 h 962317"/>
                <a:gd name="connsiteX9" fmla="*/ 711725 w 1481959"/>
                <a:gd name="connsiteY9" fmla="*/ 740344 h 962317"/>
                <a:gd name="connsiteX10" fmla="*/ 661739 w 1481959"/>
                <a:gd name="connsiteY10" fmla="*/ 719332 h 962317"/>
                <a:gd name="connsiteX11" fmla="*/ 535436 w 1481959"/>
                <a:gd name="connsiteY11" fmla="*/ 593028 h 962317"/>
                <a:gd name="connsiteX12" fmla="*/ 520710 w 1481959"/>
                <a:gd name="connsiteY12" fmla="*/ 557602 h 962317"/>
                <a:gd name="connsiteX13" fmla="*/ 597984 w 1481959"/>
                <a:gd name="connsiteY13" fmla="*/ 478826 h 962317"/>
                <a:gd name="connsiteX14" fmla="*/ 709855 w 1481959"/>
                <a:gd name="connsiteY14" fmla="*/ 368988 h 962317"/>
                <a:gd name="connsiteX15" fmla="*/ 720565 w 1481959"/>
                <a:gd name="connsiteY15" fmla="*/ 351055 h 962317"/>
                <a:gd name="connsiteX16" fmla="*/ 722022 w 1481959"/>
                <a:gd name="connsiteY16" fmla="*/ 347917 h 962317"/>
                <a:gd name="connsiteX17" fmla="*/ 723721 w 1481959"/>
                <a:gd name="connsiteY17" fmla="*/ 338718 h 962317"/>
                <a:gd name="connsiteX18" fmla="*/ 723262 w 1481959"/>
                <a:gd name="connsiteY18" fmla="*/ 334338 h 962317"/>
                <a:gd name="connsiteX19" fmla="*/ 723111 w 1481959"/>
                <a:gd name="connsiteY19" fmla="*/ 333602 h 962317"/>
                <a:gd name="connsiteX20" fmla="*/ 714729 w 1481959"/>
                <a:gd name="connsiteY20" fmla="*/ 315979 h 962317"/>
                <a:gd name="connsiteX21" fmla="*/ 678087 w 1481959"/>
                <a:gd name="connsiteY21" fmla="*/ 280035 h 962317"/>
                <a:gd name="connsiteX22" fmla="*/ 668098 w 1481959"/>
                <a:gd name="connsiteY22" fmla="*/ 262301 h 962317"/>
                <a:gd name="connsiteX23" fmla="*/ 678350 w 1481959"/>
                <a:gd name="connsiteY23" fmla="*/ 258990 h 962317"/>
                <a:gd name="connsiteX24" fmla="*/ 72174 w 1481959"/>
                <a:gd name="connsiteY24" fmla="*/ 72174 h 962317"/>
                <a:gd name="connsiteX25" fmla="*/ 72174 w 1481959"/>
                <a:gd name="connsiteY25" fmla="*/ 887737 h 962317"/>
                <a:gd name="connsiteX26" fmla="*/ 1402569 w 1481959"/>
                <a:gd name="connsiteY26" fmla="*/ 887737 h 962317"/>
                <a:gd name="connsiteX27" fmla="*/ 1402569 w 1481959"/>
                <a:gd name="connsiteY27" fmla="*/ 72174 h 962317"/>
                <a:gd name="connsiteX28" fmla="*/ 65620 w 1481959"/>
                <a:gd name="connsiteY28" fmla="*/ 0 h 962317"/>
                <a:gd name="connsiteX29" fmla="*/ 1416339 w 1481959"/>
                <a:gd name="connsiteY29" fmla="*/ 0 h 962317"/>
                <a:gd name="connsiteX30" fmla="*/ 1481959 w 1481959"/>
                <a:gd name="connsiteY30" fmla="*/ 65621 h 962317"/>
                <a:gd name="connsiteX31" fmla="*/ 1481959 w 1481959"/>
                <a:gd name="connsiteY31" fmla="*/ 896697 h 962317"/>
                <a:gd name="connsiteX32" fmla="*/ 1416339 w 1481959"/>
                <a:gd name="connsiteY32" fmla="*/ 962317 h 962317"/>
                <a:gd name="connsiteX33" fmla="*/ 65620 w 1481959"/>
                <a:gd name="connsiteY33" fmla="*/ 962317 h 962317"/>
                <a:gd name="connsiteX34" fmla="*/ 0 w 1481959"/>
                <a:gd name="connsiteY34" fmla="*/ 896697 h 962317"/>
                <a:gd name="connsiteX35" fmla="*/ 0 w 1481959"/>
                <a:gd name="connsiteY35" fmla="*/ 65621 h 962317"/>
                <a:gd name="connsiteX36" fmla="*/ 65620 w 1481959"/>
                <a:gd name="connsiteY36" fmla="*/ 0 h 962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81959" h="962317">
                  <a:moveTo>
                    <a:pt x="678350" y="258990"/>
                  </a:moveTo>
                  <a:cubicBezTo>
                    <a:pt x="681742" y="259020"/>
                    <a:pt x="685484" y="259288"/>
                    <a:pt x="688805" y="259224"/>
                  </a:cubicBezTo>
                  <a:lnTo>
                    <a:pt x="971484" y="259224"/>
                  </a:lnTo>
                  <a:cubicBezTo>
                    <a:pt x="1000302" y="256718"/>
                    <a:pt x="1008071" y="270753"/>
                    <a:pt x="1006067" y="292305"/>
                  </a:cubicBezTo>
                  <a:lnTo>
                    <a:pt x="1006067" y="576488"/>
                  </a:lnTo>
                  <a:lnTo>
                    <a:pt x="1004269" y="595185"/>
                  </a:lnTo>
                  <a:cubicBezTo>
                    <a:pt x="1002451" y="598026"/>
                    <a:pt x="999695" y="598003"/>
                    <a:pt x="996845" y="596703"/>
                  </a:cubicBezTo>
                  <a:lnTo>
                    <a:pt x="946477" y="546841"/>
                  </a:lnTo>
                  <a:cubicBezTo>
                    <a:pt x="934430" y="534914"/>
                    <a:pt x="914995" y="535011"/>
                    <a:pt x="903068" y="547059"/>
                  </a:cubicBezTo>
                  <a:lnTo>
                    <a:pt x="711725" y="740344"/>
                  </a:lnTo>
                  <a:cubicBezTo>
                    <a:pt x="699360" y="748226"/>
                    <a:pt x="689313" y="744295"/>
                    <a:pt x="661739" y="719332"/>
                  </a:cubicBezTo>
                  <a:lnTo>
                    <a:pt x="535436" y="593028"/>
                  </a:lnTo>
                  <a:cubicBezTo>
                    <a:pt x="524870" y="579553"/>
                    <a:pt x="516830" y="569445"/>
                    <a:pt x="520710" y="557602"/>
                  </a:cubicBezTo>
                  <a:lnTo>
                    <a:pt x="597984" y="478826"/>
                  </a:lnTo>
                  <a:lnTo>
                    <a:pt x="709855" y="368988"/>
                  </a:lnTo>
                  <a:cubicBezTo>
                    <a:pt x="715078" y="361976"/>
                    <a:pt x="718582" y="356117"/>
                    <a:pt x="720565" y="351055"/>
                  </a:cubicBezTo>
                  <a:cubicBezTo>
                    <a:pt x="721405" y="350159"/>
                    <a:pt x="721848" y="349083"/>
                    <a:pt x="722022" y="347917"/>
                  </a:cubicBezTo>
                  <a:cubicBezTo>
                    <a:pt x="723326" y="344409"/>
                    <a:pt x="723862" y="341379"/>
                    <a:pt x="723721" y="338718"/>
                  </a:cubicBezTo>
                  <a:cubicBezTo>
                    <a:pt x="723959" y="337241"/>
                    <a:pt x="723892" y="335759"/>
                    <a:pt x="723262" y="334338"/>
                  </a:cubicBezTo>
                  <a:cubicBezTo>
                    <a:pt x="723291" y="334071"/>
                    <a:pt x="723225" y="333829"/>
                    <a:pt x="723111" y="333602"/>
                  </a:cubicBezTo>
                  <a:cubicBezTo>
                    <a:pt x="722700" y="327088"/>
                    <a:pt x="719734" y="320887"/>
                    <a:pt x="714729" y="315979"/>
                  </a:cubicBezTo>
                  <a:lnTo>
                    <a:pt x="678087" y="280035"/>
                  </a:lnTo>
                  <a:lnTo>
                    <a:pt x="668098" y="262301"/>
                  </a:lnTo>
                  <a:cubicBezTo>
                    <a:pt x="669005" y="259420"/>
                    <a:pt x="673283" y="258942"/>
                    <a:pt x="678350" y="258990"/>
                  </a:cubicBezTo>
                  <a:close/>
                  <a:moveTo>
                    <a:pt x="72174" y="72174"/>
                  </a:moveTo>
                  <a:lnTo>
                    <a:pt x="72174" y="887737"/>
                  </a:lnTo>
                  <a:lnTo>
                    <a:pt x="1402569" y="887737"/>
                  </a:lnTo>
                  <a:lnTo>
                    <a:pt x="1402569" y="72174"/>
                  </a:lnTo>
                  <a:close/>
                  <a:moveTo>
                    <a:pt x="65620" y="0"/>
                  </a:moveTo>
                  <a:lnTo>
                    <a:pt x="1416339" y="0"/>
                  </a:lnTo>
                  <a:cubicBezTo>
                    <a:pt x="1452581" y="0"/>
                    <a:pt x="1481959" y="29379"/>
                    <a:pt x="1481959" y="65621"/>
                  </a:cubicBezTo>
                  <a:lnTo>
                    <a:pt x="1481959" y="896697"/>
                  </a:lnTo>
                  <a:cubicBezTo>
                    <a:pt x="1481959" y="932938"/>
                    <a:pt x="1452581" y="962317"/>
                    <a:pt x="1416339" y="962317"/>
                  </a:cubicBezTo>
                  <a:lnTo>
                    <a:pt x="65620" y="962317"/>
                  </a:lnTo>
                  <a:cubicBezTo>
                    <a:pt x="29379" y="962317"/>
                    <a:pt x="0" y="932938"/>
                    <a:pt x="0" y="896697"/>
                  </a:cubicBezTo>
                  <a:lnTo>
                    <a:pt x="0" y="65621"/>
                  </a:lnTo>
                  <a:cubicBezTo>
                    <a:pt x="0" y="29379"/>
                    <a:pt x="29379" y="0"/>
                    <a:pt x="65620" y="0"/>
                  </a:cubicBezTo>
                  <a:close/>
                </a:path>
              </a:pathLst>
            </a:custGeom>
            <a:solidFill>
              <a:srgbClr val="0078D7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9604" tIns="44802" rIns="44802" bIns="8960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575">
                <a:defRPr/>
              </a:pPr>
              <a:endParaRPr lang="en-US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 rot="10800000">
              <a:off x="4530897" y="4993591"/>
              <a:ext cx="191129" cy="23880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9604" tIns="44802" rIns="89604" bIns="4480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79">
                <a:defRPr/>
              </a:pPr>
              <a:endParaRPr lang="en-US" sz="1600" kern="0">
                <a:solidFill>
                  <a:prstClr val="white"/>
                </a:solidFill>
                <a:latin typeface="+mj-lt"/>
              </a:endParaRPr>
            </a:p>
          </p:txBody>
        </p:sp>
        <p:cxnSp>
          <p:nvCxnSpPr>
            <p:cNvPr id="35" name="Straight Connector 34"/>
            <p:cNvCxnSpPr/>
            <p:nvPr/>
          </p:nvCxnSpPr>
          <p:spPr>
            <a:xfrm>
              <a:off x="4585693" y="4991655"/>
              <a:ext cx="0" cy="246272"/>
            </a:xfrm>
            <a:prstGeom prst="line">
              <a:avLst/>
            </a:prstGeom>
            <a:noFill/>
            <a:ln w="12700" cap="flat" cmpd="sng" algn="ctr">
              <a:solidFill>
                <a:srgbClr val="0078D7"/>
              </a:solidFill>
              <a:prstDash val="solid"/>
            </a:ln>
            <a:effectLst/>
          </p:spPr>
        </p:cxnSp>
        <p:cxnSp>
          <p:nvCxnSpPr>
            <p:cNvPr id="36" name="Straight Connector 35"/>
            <p:cNvCxnSpPr/>
            <p:nvPr/>
          </p:nvCxnSpPr>
          <p:spPr>
            <a:xfrm>
              <a:off x="4630168" y="4991655"/>
              <a:ext cx="0" cy="246272"/>
            </a:xfrm>
            <a:prstGeom prst="line">
              <a:avLst/>
            </a:prstGeom>
            <a:noFill/>
            <a:ln w="12700" cap="flat" cmpd="sng" algn="ctr">
              <a:solidFill>
                <a:srgbClr val="0078D7"/>
              </a:solidFill>
              <a:prstDash val="solid"/>
            </a:ln>
            <a:effectLst/>
          </p:spPr>
        </p:cxnSp>
        <p:cxnSp>
          <p:nvCxnSpPr>
            <p:cNvPr id="37" name="Straight Connector 36"/>
            <p:cNvCxnSpPr/>
            <p:nvPr/>
          </p:nvCxnSpPr>
          <p:spPr>
            <a:xfrm>
              <a:off x="4679000" y="4991655"/>
              <a:ext cx="0" cy="246272"/>
            </a:xfrm>
            <a:prstGeom prst="line">
              <a:avLst/>
            </a:prstGeom>
            <a:noFill/>
            <a:ln w="12700" cap="flat" cmpd="sng" algn="ctr">
              <a:solidFill>
                <a:srgbClr val="0078D7"/>
              </a:solidFill>
              <a:prstDash val="solid"/>
            </a:ln>
            <a:effectLst/>
          </p:spPr>
        </p:cxnSp>
        <p:cxnSp>
          <p:nvCxnSpPr>
            <p:cNvPr id="38" name="Straight Connector 37"/>
            <p:cNvCxnSpPr/>
            <p:nvPr/>
          </p:nvCxnSpPr>
          <p:spPr>
            <a:xfrm>
              <a:off x="4516731" y="5066411"/>
              <a:ext cx="204912" cy="0"/>
            </a:xfrm>
            <a:prstGeom prst="line">
              <a:avLst/>
            </a:prstGeom>
            <a:noFill/>
            <a:ln w="12700" cap="flat" cmpd="sng" algn="ctr">
              <a:solidFill>
                <a:srgbClr val="0078D7"/>
              </a:solidFill>
              <a:prstDash val="solid"/>
            </a:ln>
            <a:effectLst/>
          </p:spPr>
        </p:cxnSp>
        <p:cxnSp>
          <p:nvCxnSpPr>
            <p:cNvPr id="39" name="Straight Connector 38"/>
            <p:cNvCxnSpPr/>
            <p:nvPr/>
          </p:nvCxnSpPr>
          <p:spPr>
            <a:xfrm>
              <a:off x="4516731" y="5108258"/>
              <a:ext cx="204912" cy="0"/>
            </a:xfrm>
            <a:prstGeom prst="line">
              <a:avLst/>
            </a:prstGeom>
            <a:noFill/>
            <a:ln w="12700" cap="flat" cmpd="sng" algn="ctr">
              <a:solidFill>
                <a:srgbClr val="0078D7"/>
              </a:solidFill>
              <a:prstDash val="solid"/>
            </a:ln>
            <a:effectLst/>
          </p:spPr>
        </p:cxnSp>
        <p:cxnSp>
          <p:nvCxnSpPr>
            <p:cNvPr id="40" name="Straight Connector 39"/>
            <p:cNvCxnSpPr/>
            <p:nvPr/>
          </p:nvCxnSpPr>
          <p:spPr>
            <a:xfrm>
              <a:off x="4517362" y="5151996"/>
              <a:ext cx="204912" cy="0"/>
            </a:xfrm>
            <a:prstGeom prst="line">
              <a:avLst/>
            </a:prstGeom>
            <a:noFill/>
            <a:ln w="12700" cap="flat" cmpd="sng" algn="ctr">
              <a:solidFill>
                <a:srgbClr val="0078D7"/>
              </a:solidFill>
              <a:prstDash val="solid"/>
            </a:ln>
            <a:effectLst/>
          </p:spPr>
        </p:cxnSp>
        <p:cxnSp>
          <p:nvCxnSpPr>
            <p:cNvPr id="41" name="Straight Connector 40"/>
            <p:cNvCxnSpPr/>
            <p:nvPr/>
          </p:nvCxnSpPr>
          <p:spPr>
            <a:xfrm>
              <a:off x="4517362" y="5191395"/>
              <a:ext cx="204912" cy="0"/>
            </a:xfrm>
            <a:prstGeom prst="line">
              <a:avLst/>
            </a:prstGeom>
            <a:noFill/>
            <a:ln w="12700" cap="flat" cmpd="sng" algn="ctr">
              <a:solidFill>
                <a:srgbClr val="0078D7"/>
              </a:solidFill>
              <a:prstDash val="solid"/>
            </a:ln>
            <a:effectLst/>
          </p:spPr>
        </p:cxnSp>
        <p:cxnSp>
          <p:nvCxnSpPr>
            <p:cNvPr id="42" name="Straight Connector 41"/>
            <p:cNvCxnSpPr/>
            <p:nvPr/>
          </p:nvCxnSpPr>
          <p:spPr>
            <a:xfrm>
              <a:off x="4517299" y="5025901"/>
              <a:ext cx="204912" cy="0"/>
            </a:xfrm>
            <a:prstGeom prst="line">
              <a:avLst/>
            </a:prstGeom>
            <a:noFill/>
            <a:ln w="12700" cap="flat" cmpd="sng" algn="ctr">
              <a:solidFill>
                <a:srgbClr val="0078D7"/>
              </a:solidFill>
              <a:prstDash val="solid"/>
            </a:ln>
            <a:effectLst/>
          </p:spPr>
        </p:cxnSp>
      </p:grpSp>
      <p:cxnSp>
        <p:nvCxnSpPr>
          <p:cNvPr id="43" name="Straight Arrow Connector 42"/>
          <p:cNvCxnSpPr/>
          <p:nvPr/>
        </p:nvCxnSpPr>
        <p:spPr>
          <a:xfrm flipV="1">
            <a:off x="2918661" y="4444986"/>
            <a:ext cx="0" cy="971881"/>
          </a:xfrm>
          <a:prstGeom prst="straightConnector1">
            <a:avLst/>
          </a:prstGeom>
          <a:noFill/>
          <a:ln w="31750" cap="flat" cmpd="sng" algn="ctr">
            <a:solidFill>
              <a:schemeClr val="accent2"/>
            </a:solidFill>
            <a:prstDash val="solid"/>
            <a:headEnd type="triangle" w="med" len="sm"/>
            <a:tailEnd type="triangle" w="med" len="sm"/>
          </a:ln>
          <a:effectLst/>
        </p:spPr>
      </p:cxnSp>
      <p:sp>
        <p:nvSpPr>
          <p:cNvPr id="44" name="Bent Arrow 51"/>
          <p:cNvSpPr/>
          <p:nvPr/>
        </p:nvSpPr>
        <p:spPr>
          <a:xfrm rot="16200000" flipV="1">
            <a:off x="5305287" y="3698429"/>
            <a:ext cx="727106" cy="1477497"/>
          </a:xfrm>
          <a:prstGeom prst="bentArrow">
            <a:avLst>
              <a:gd name="adj1" fmla="val 25404"/>
              <a:gd name="adj2" fmla="val 28765"/>
              <a:gd name="adj3" fmla="val 30524"/>
              <a:gd name="adj4" fmla="val 55796"/>
            </a:avLst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604" tIns="44802" rIns="89604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2979">
              <a:defRPr/>
            </a:pPr>
            <a:endParaRPr lang="en-US" sz="1600" kern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118105" y="1823494"/>
            <a:ext cx="1317304" cy="312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698"/>
            <a:r>
              <a:rPr lang="en-US" sz="1400" kern="0" dirty="0">
                <a:solidFill>
                  <a:sysClr val="windowText" lastClr="000000"/>
                </a:solidFill>
                <a:latin typeface="+mj-lt"/>
                <a:cs typeface="Segoe UI Semibold" panose="020B0702040204020203" pitchFamily="34" charset="0"/>
              </a:rPr>
              <a:t>Extensibility</a:t>
            </a:r>
          </a:p>
        </p:txBody>
      </p:sp>
      <p:sp>
        <p:nvSpPr>
          <p:cNvPr id="46" name="Freeform 53"/>
          <p:cNvSpPr>
            <a:spLocks noChangeAspect="1"/>
          </p:cNvSpPr>
          <p:nvPr/>
        </p:nvSpPr>
        <p:spPr bwMode="auto">
          <a:xfrm>
            <a:off x="3229721" y="2136500"/>
            <a:ext cx="1080211" cy="126755"/>
          </a:xfrm>
          <a:custGeom>
            <a:avLst/>
            <a:gdLst>
              <a:gd name="connsiteX0" fmla="*/ 1126907 w 1484366"/>
              <a:gd name="connsiteY0" fmla="*/ 92222 h 174178"/>
              <a:gd name="connsiteX1" fmla="*/ 1126907 w 1484366"/>
              <a:gd name="connsiteY1" fmla="*/ 100883 h 174178"/>
              <a:gd name="connsiteX2" fmla="*/ 1184646 w 1484366"/>
              <a:gd name="connsiteY2" fmla="*/ 100883 h 174178"/>
              <a:gd name="connsiteX3" fmla="*/ 1184646 w 1484366"/>
              <a:gd name="connsiteY3" fmla="*/ 92222 h 174178"/>
              <a:gd name="connsiteX4" fmla="*/ 1229754 w 1484366"/>
              <a:gd name="connsiteY4" fmla="*/ 51724 h 174178"/>
              <a:gd name="connsiteX5" fmla="*/ 1276267 w 1484366"/>
              <a:gd name="connsiteY5" fmla="*/ 51724 h 174178"/>
              <a:gd name="connsiteX6" fmla="*/ 1276267 w 1484366"/>
              <a:gd name="connsiteY6" fmla="*/ 98237 h 174178"/>
              <a:gd name="connsiteX7" fmla="*/ 1229754 w 1484366"/>
              <a:gd name="connsiteY7" fmla="*/ 98237 h 174178"/>
              <a:gd name="connsiteX8" fmla="*/ 1224142 w 1484366"/>
              <a:gd name="connsiteY8" fmla="*/ 46112 h 174178"/>
              <a:gd name="connsiteX9" fmla="*/ 1224142 w 1484366"/>
              <a:gd name="connsiteY9" fmla="*/ 103850 h 174178"/>
              <a:gd name="connsiteX10" fmla="*/ 1281879 w 1484366"/>
              <a:gd name="connsiteY10" fmla="*/ 103850 h 174178"/>
              <a:gd name="connsiteX11" fmla="*/ 1281879 w 1484366"/>
              <a:gd name="connsiteY11" fmla="*/ 46112 h 174178"/>
              <a:gd name="connsiteX12" fmla="*/ 1335992 w 1484366"/>
              <a:gd name="connsiteY12" fmla="*/ 45213 h 174178"/>
              <a:gd name="connsiteX13" fmla="*/ 1328262 w 1484366"/>
              <a:gd name="connsiteY13" fmla="*/ 54101 h 174178"/>
              <a:gd name="connsiteX14" fmla="*/ 1352498 w 1484366"/>
              <a:gd name="connsiteY14" fmla="*/ 75181 h 174178"/>
              <a:gd name="connsiteX15" fmla="*/ 1328262 w 1484366"/>
              <a:gd name="connsiteY15" fmla="*/ 96262 h 174178"/>
              <a:gd name="connsiteX16" fmla="*/ 1335992 w 1484366"/>
              <a:gd name="connsiteY16" fmla="*/ 105149 h 174178"/>
              <a:gd name="connsiteX17" fmla="*/ 1361471 w 1484366"/>
              <a:gd name="connsiteY17" fmla="*/ 82986 h 174178"/>
              <a:gd name="connsiteX18" fmla="*/ 1386951 w 1484366"/>
              <a:gd name="connsiteY18" fmla="*/ 105149 h 174178"/>
              <a:gd name="connsiteX19" fmla="*/ 1394681 w 1484366"/>
              <a:gd name="connsiteY19" fmla="*/ 96262 h 174178"/>
              <a:gd name="connsiteX20" fmla="*/ 1370445 w 1484366"/>
              <a:gd name="connsiteY20" fmla="*/ 75181 h 174178"/>
              <a:gd name="connsiteX21" fmla="*/ 1394681 w 1484366"/>
              <a:gd name="connsiteY21" fmla="*/ 54101 h 174178"/>
              <a:gd name="connsiteX22" fmla="*/ 1386951 w 1484366"/>
              <a:gd name="connsiteY22" fmla="*/ 45213 h 174178"/>
              <a:gd name="connsiteX23" fmla="*/ 1361471 w 1484366"/>
              <a:gd name="connsiteY23" fmla="*/ 67375 h 174178"/>
              <a:gd name="connsiteX24" fmla="*/ 63432 w 1484366"/>
              <a:gd name="connsiteY24" fmla="*/ 0 h 174178"/>
              <a:gd name="connsiteX25" fmla="*/ 83802 w 1484366"/>
              <a:gd name="connsiteY25" fmla="*/ 0 h 174178"/>
              <a:gd name="connsiteX26" fmla="*/ 1420934 w 1484366"/>
              <a:gd name="connsiteY26" fmla="*/ 0 h 174178"/>
              <a:gd name="connsiteX27" fmla="*/ 1484366 w 1484366"/>
              <a:gd name="connsiteY27" fmla="*/ 63432 h 174178"/>
              <a:gd name="connsiteX28" fmla="*/ 1484366 w 1484366"/>
              <a:gd name="connsiteY28" fmla="*/ 150684 h 174178"/>
              <a:gd name="connsiteX29" fmla="*/ 1479753 w 1484366"/>
              <a:gd name="connsiteY29" fmla="*/ 174178 h 174178"/>
              <a:gd name="connsiteX30" fmla="*/ 1430558 w 1484366"/>
              <a:gd name="connsiteY30" fmla="*/ 149160 h 174178"/>
              <a:gd name="connsiteX31" fmla="*/ 49548 w 1484366"/>
              <a:gd name="connsiteY31" fmla="*/ 149661 h 174178"/>
              <a:gd name="connsiteX32" fmla="*/ 1505 w 1484366"/>
              <a:gd name="connsiteY32" fmla="*/ 161689 h 174178"/>
              <a:gd name="connsiteX33" fmla="*/ 0 w 1484366"/>
              <a:gd name="connsiteY33" fmla="*/ 63432 h 174178"/>
              <a:gd name="connsiteX34" fmla="*/ 1289 w 1484366"/>
              <a:gd name="connsiteY34" fmla="*/ 50648 h 174178"/>
              <a:gd name="connsiteX35" fmla="*/ 4985 w 1484366"/>
              <a:gd name="connsiteY35" fmla="*/ 38742 h 174178"/>
              <a:gd name="connsiteX36" fmla="*/ 18580 w 1484366"/>
              <a:gd name="connsiteY36" fmla="*/ 18578 h 174178"/>
              <a:gd name="connsiteX37" fmla="*/ 38741 w 1484366"/>
              <a:gd name="connsiteY37" fmla="*/ 4985 h 174178"/>
              <a:gd name="connsiteX38" fmla="*/ 50648 w 1484366"/>
              <a:gd name="connsiteY38" fmla="*/ 1289 h 174178"/>
              <a:gd name="connsiteX39" fmla="*/ 63432 w 1484366"/>
              <a:gd name="connsiteY39" fmla="*/ 0 h 174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4366" h="174178">
                <a:moveTo>
                  <a:pt x="1126907" y="92222"/>
                </a:moveTo>
                <a:lnTo>
                  <a:pt x="1126907" y="100883"/>
                </a:lnTo>
                <a:lnTo>
                  <a:pt x="1184646" y="100883"/>
                </a:lnTo>
                <a:lnTo>
                  <a:pt x="1184646" y="92222"/>
                </a:lnTo>
                <a:close/>
                <a:moveTo>
                  <a:pt x="1229754" y="51724"/>
                </a:moveTo>
                <a:lnTo>
                  <a:pt x="1276267" y="51724"/>
                </a:lnTo>
                <a:lnTo>
                  <a:pt x="1276267" y="98237"/>
                </a:lnTo>
                <a:lnTo>
                  <a:pt x="1229754" y="98237"/>
                </a:lnTo>
                <a:close/>
                <a:moveTo>
                  <a:pt x="1224142" y="46112"/>
                </a:moveTo>
                <a:lnTo>
                  <a:pt x="1224142" y="103850"/>
                </a:lnTo>
                <a:lnTo>
                  <a:pt x="1281879" y="103850"/>
                </a:lnTo>
                <a:lnTo>
                  <a:pt x="1281879" y="46112"/>
                </a:lnTo>
                <a:close/>
                <a:moveTo>
                  <a:pt x="1335992" y="45213"/>
                </a:moveTo>
                <a:lnTo>
                  <a:pt x="1328262" y="54101"/>
                </a:lnTo>
                <a:lnTo>
                  <a:pt x="1352498" y="75181"/>
                </a:lnTo>
                <a:lnTo>
                  <a:pt x="1328262" y="96262"/>
                </a:lnTo>
                <a:lnTo>
                  <a:pt x="1335992" y="105149"/>
                </a:lnTo>
                <a:lnTo>
                  <a:pt x="1361471" y="82986"/>
                </a:lnTo>
                <a:lnTo>
                  <a:pt x="1386951" y="105149"/>
                </a:lnTo>
                <a:lnTo>
                  <a:pt x="1394681" y="96262"/>
                </a:lnTo>
                <a:lnTo>
                  <a:pt x="1370445" y="75181"/>
                </a:lnTo>
                <a:lnTo>
                  <a:pt x="1394681" y="54101"/>
                </a:lnTo>
                <a:lnTo>
                  <a:pt x="1386951" y="45213"/>
                </a:lnTo>
                <a:lnTo>
                  <a:pt x="1361471" y="67375"/>
                </a:lnTo>
                <a:close/>
                <a:moveTo>
                  <a:pt x="63432" y="0"/>
                </a:moveTo>
                <a:lnTo>
                  <a:pt x="83802" y="0"/>
                </a:lnTo>
                <a:lnTo>
                  <a:pt x="1420934" y="0"/>
                </a:lnTo>
                <a:cubicBezTo>
                  <a:pt x="1455967" y="0"/>
                  <a:pt x="1484366" y="28399"/>
                  <a:pt x="1484366" y="63432"/>
                </a:cubicBezTo>
                <a:lnTo>
                  <a:pt x="1484366" y="150684"/>
                </a:lnTo>
                <a:cubicBezTo>
                  <a:pt x="1484366" y="159000"/>
                  <a:pt x="1482766" y="166943"/>
                  <a:pt x="1479753" y="174178"/>
                </a:cubicBezTo>
                <a:cubicBezTo>
                  <a:pt x="1468946" y="158703"/>
                  <a:pt x="1450867" y="149160"/>
                  <a:pt x="1430558" y="149160"/>
                </a:cubicBezTo>
                <a:lnTo>
                  <a:pt x="49548" y="149661"/>
                </a:lnTo>
                <a:cubicBezTo>
                  <a:pt x="33534" y="148156"/>
                  <a:pt x="13509" y="150663"/>
                  <a:pt x="1505" y="161689"/>
                </a:cubicBezTo>
                <a:cubicBezTo>
                  <a:pt x="1002" y="128937"/>
                  <a:pt x="501" y="96184"/>
                  <a:pt x="0" y="63432"/>
                </a:cubicBezTo>
                <a:cubicBezTo>
                  <a:pt x="0" y="59053"/>
                  <a:pt x="444" y="54777"/>
                  <a:pt x="1289" y="50648"/>
                </a:cubicBezTo>
                <a:cubicBezTo>
                  <a:pt x="2135" y="46519"/>
                  <a:pt x="3380" y="42536"/>
                  <a:pt x="4985" y="38742"/>
                </a:cubicBezTo>
                <a:cubicBezTo>
                  <a:pt x="8195" y="31153"/>
                  <a:pt x="12839" y="24319"/>
                  <a:pt x="18580" y="18578"/>
                </a:cubicBezTo>
                <a:cubicBezTo>
                  <a:pt x="24319" y="12839"/>
                  <a:pt x="31152" y="8195"/>
                  <a:pt x="38741" y="4985"/>
                </a:cubicBezTo>
                <a:cubicBezTo>
                  <a:pt x="42536" y="3380"/>
                  <a:pt x="46519" y="2133"/>
                  <a:pt x="50648" y="1289"/>
                </a:cubicBezTo>
                <a:cubicBezTo>
                  <a:pt x="54778" y="444"/>
                  <a:pt x="59053" y="0"/>
                  <a:pt x="63432" y="0"/>
                </a:cubicBezTo>
                <a:close/>
              </a:path>
            </a:pathLst>
          </a:custGeom>
          <a:solidFill>
            <a:srgbClr val="D83B0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604" tIns="44802" rIns="44802" bIns="89604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895575">
              <a:defRPr/>
            </a:pP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Freeform 54"/>
          <p:cNvSpPr>
            <a:spLocks/>
          </p:cNvSpPr>
          <p:nvPr/>
        </p:nvSpPr>
        <p:spPr bwMode="auto">
          <a:xfrm>
            <a:off x="4361058" y="2319133"/>
            <a:ext cx="548562" cy="548562"/>
          </a:xfrm>
          <a:custGeom>
            <a:avLst/>
            <a:gdLst>
              <a:gd name="connsiteX0" fmla="*/ 678350 w 1481959"/>
              <a:gd name="connsiteY0" fmla="*/ 258990 h 962317"/>
              <a:gd name="connsiteX1" fmla="*/ 688805 w 1481959"/>
              <a:gd name="connsiteY1" fmla="*/ 259224 h 962317"/>
              <a:gd name="connsiteX2" fmla="*/ 971484 w 1481959"/>
              <a:gd name="connsiteY2" fmla="*/ 259224 h 962317"/>
              <a:gd name="connsiteX3" fmla="*/ 1006067 w 1481959"/>
              <a:gd name="connsiteY3" fmla="*/ 292305 h 962317"/>
              <a:gd name="connsiteX4" fmla="*/ 1006067 w 1481959"/>
              <a:gd name="connsiteY4" fmla="*/ 576488 h 962317"/>
              <a:gd name="connsiteX5" fmla="*/ 1004269 w 1481959"/>
              <a:gd name="connsiteY5" fmla="*/ 595185 h 962317"/>
              <a:gd name="connsiteX6" fmla="*/ 996845 w 1481959"/>
              <a:gd name="connsiteY6" fmla="*/ 596703 h 962317"/>
              <a:gd name="connsiteX7" fmla="*/ 946477 w 1481959"/>
              <a:gd name="connsiteY7" fmla="*/ 546841 h 962317"/>
              <a:gd name="connsiteX8" fmla="*/ 903068 w 1481959"/>
              <a:gd name="connsiteY8" fmla="*/ 547059 h 962317"/>
              <a:gd name="connsiteX9" fmla="*/ 711725 w 1481959"/>
              <a:gd name="connsiteY9" fmla="*/ 740344 h 962317"/>
              <a:gd name="connsiteX10" fmla="*/ 661739 w 1481959"/>
              <a:gd name="connsiteY10" fmla="*/ 719332 h 962317"/>
              <a:gd name="connsiteX11" fmla="*/ 535436 w 1481959"/>
              <a:gd name="connsiteY11" fmla="*/ 593028 h 962317"/>
              <a:gd name="connsiteX12" fmla="*/ 520710 w 1481959"/>
              <a:gd name="connsiteY12" fmla="*/ 557602 h 962317"/>
              <a:gd name="connsiteX13" fmla="*/ 597984 w 1481959"/>
              <a:gd name="connsiteY13" fmla="*/ 478826 h 962317"/>
              <a:gd name="connsiteX14" fmla="*/ 709855 w 1481959"/>
              <a:gd name="connsiteY14" fmla="*/ 368988 h 962317"/>
              <a:gd name="connsiteX15" fmla="*/ 720565 w 1481959"/>
              <a:gd name="connsiteY15" fmla="*/ 351055 h 962317"/>
              <a:gd name="connsiteX16" fmla="*/ 722022 w 1481959"/>
              <a:gd name="connsiteY16" fmla="*/ 347917 h 962317"/>
              <a:gd name="connsiteX17" fmla="*/ 723721 w 1481959"/>
              <a:gd name="connsiteY17" fmla="*/ 338718 h 962317"/>
              <a:gd name="connsiteX18" fmla="*/ 723262 w 1481959"/>
              <a:gd name="connsiteY18" fmla="*/ 334338 h 962317"/>
              <a:gd name="connsiteX19" fmla="*/ 723111 w 1481959"/>
              <a:gd name="connsiteY19" fmla="*/ 333602 h 962317"/>
              <a:gd name="connsiteX20" fmla="*/ 714729 w 1481959"/>
              <a:gd name="connsiteY20" fmla="*/ 315979 h 962317"/>
              <a:gd name="connsiteX21" fmla="*/ 678087 w 1481959"/>
              <a:gd name="connsiteY21" fmla="*/ 280035 h 962317"/>
              <a:gd name="connsiteX22" fmla="*/ 668098 w 1481959"/>
              <a:gd name="connsiteY22" fmla="*/ 262301 h 962317"/>
              <a:gd name="connsiteX23" fmla="*/ 678350 w 1481959"/>
              <a:gd name="connsiteY23" fmla="*/ 258990 h 962317"/>
              <a:gd name="connsiteX24" fmla="*/ 72174 w 1481959"/>
              <a:gd name="connsiteY24" fmla="*/ 72174 h 962317"/>
              <a:gd name="connsiteX25" fmla="*/ 72174 w 1481959"/>
              <a:gd name="connsiteY25" fmla="*/ 887737 h 962317"/>
              <a:gd name="connsiteX26" fmla="*/ 1402569 w 1481959"/>
              <a:gd name="connsiteY26" fmla="*/ 887737 h 962317"/>
              <a:gd name="connsiteX27" fmla="*/ 1402569 w 1481959"/>
              <a:gd name="connsiteY27" fmla="*/ 72174 h 962317"/>
              <a:gd name="connsiteX28" fmla="*/ 65620 w 1481959"/>
              <a:gd name="connsiteY28" fmla="*/ 0 h 962317"/>
              <a:gd name="connsiteX29" fmla="*/ 1416339 w 1481959"/>
              <a:gd name="connsiteY29" fmla="*/ 0 h 962317"/>
              <a:gd name="connsiteX30" fmla="*/ 1481959 w 1481959"/>
              <a:gd name="connsiteY30" fmla="*/ 65621 h 962317"/>
              <a:gd name="connsiteX31" fmla="*/ 1481959 w 1481959"/>
              <a:gd name="connsiteY31" fmla="*/ 896697 h 962317"/>
              <a:gd name="connsiteX32" fmla="*/ 1416339 w 1481959"/>
              <a:gd name="connsiteY32" fmla="*/ 962317 h 962317"/>
              <a:gd name="connsiteX33" fmla="*/ 65620 w 1481959"/>
              <a:gd name="connsiteY33" fmla="*/ 962317 h 962317"/>
              <a:gd name="connsiteX34" fmla="*/ 0 w 1481959"/>
              <a:gd name="connsiteY34" fmla="*/ 896697 h 962317"/>
              <a:gd name="connsiteX35" fmla="*/ 0 w 1481959"/>
              <a:gd name="connsiteY35" fmla="*/ 65621 h 962317"/>
              <a:gd name="connsiteX36" fmla="*/ 65620 w 1481959"/>
              <a:gd name="connsiteY36" fmla="*/ 0 h 962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481959" h="962317">
                <a:moveTo>
                  <a:pt x="678350" y="258990"/>
                </a:moveTo>
                <a:cubicBezTo>
                  <a:pt x="681742" y="259020"/>
                  <a:pt x="685484" y="259288"/>
                  <a:pt x="688805" y="259224"/>
                </a:cubicBezTo>
                <a:lnTo>
                  <a:pt x="971484" y="259224"/>
                </a:lnTo>
                <a:cubicBezTo>
                  <a:pt x="1000302" y="256718"/>
                  <a:pt x="1008071" y="270753"/>
                  <a:pt x="1006067" y="292305"/>
                </a:cubicBezTo>
                <a:lnTo>
                  <a:pt x="1006067" y="576488"/>
                </a:lnTo>
                <a:lnTo>
                  <a:pt x="1004269" y="595185"/>
                </a:lnTo>
                <a:cubicBezTo>
                  <a:pt x="1002451" y="598026"/>
                  <a:pt x="999695" y="598003"/>
                  <a:pt x="996845" y="596703"/>
                </a:cubicBezTo>
                <a:lnTo>
                  <a:pt x="946477" y="546841"/>
                </a:lnTo>
                <a:cubicBezTo>
                  <a:pt x="934430" y="534914"/>
                  <a:pt x="914995" y="535011"/>
                  <a:pt x="903068" y="547059"/>
                </a:cubicBezTo>
                <a:lnTo>
                  <a:pt x="711725" y="740344"/>
                </a:lnTo>
                <a:cubicBezTo>
                  <a:pt x="699360" y="748226"/>
                  <a:pt x="689313" y="744295"/>
                  <a:pt x="661739" y="719332"/>
                </a:cubicBezTo>
                <a:lnTo>
                  <a:pt x="535436" y="593028"/>
                </a:lnTo>
                <a:cubicBezTo>
                  <a:pt x="524870" y="579553"/>
                  <a:pt x="516830" y="569445"/>
                  <a:pt x="520710" y="557602"/>
                </a:cubicBezTo>
                <a:lnTo>
                  <a:pt x="597984" y="478826"/>
                </a:lnTo>
                <a:lnTo>
                  <a:pt x="709855" y="368988"/>
                </a:lnTo>
                <a:cubicBezTo>
                  <a:pt x="715078" y="361976"/>
                  <a:pt x="718582" y="356117"/>
                  <a:pt x="720565" y="351055"/>
                </a:cubicBezTo>
                <a:cubicBezTo>
                  <a:pt x="721405" y="350159"/>
                  <a:pt x="721848" y="349083"/>
                  <a:pt x="722022" y="347917"/>
                </a:cubicBezTo>
                <a:cubicBezTo>
                  <a:pt x="723326" y="344409"/>
                  <a:pt x="723862" y="341379"/>
                  <a:pt x="723721" y="338718"/>
                </a:cubicBezTo>
                <a:cubicBezTo>
                  <a:pt x="723959" y="337241"/>
                  <a:pt x="723892" y="335759"/>
                  <a:pt x="723262" y="334338"/>
                </a:cubicBezTo>
                <a:cubicBezTo>
                  <a:pt x="723291" y="334071"/>
                  <a:pt x="723225" y="333829"/>
                  <a:pt x="723111" y="333602"/>
                </a:cubicBezTo>
                <a:cubicBezTo>
                  <a:pt x="722700" y="327088"/>
                  <a:pt x="719734" y="320887"/>
                  <a:pt x="714729" y="315979"/>
                </a:cubicBezTo>
                <a:lnTo>
                  <a:pt x="678087" y="280035"/>
                </a:lnTo>
                <a:lnTo>
                  <a:pt x="668098" y="262301"/>
                </a:lnTo>
                <a:cubicBezTo>
                  <a:pt x="669005" y="259420"/>
                  <a:pt x="673283" y="258942"/>
                  <a:pt x="678350" y="258990"/>
                </a:cubicBezTo>
                <a:close/>
                <a:moveTo>
                  <a:pt x="72174" y="72174"/>
                </a:moveTo>
                <a:lnTo>
                  <a:pt x="72174" y="887737"/>
                </a:lnTo>
                <a:lnTo>
                  <a:pt x="1402569" y="887737"/>
                </a:lnTo>
                <a:lnTo>
                  <a:pt x="1402569" y="72174"/>
                </a:lnTo>
                <a:close/>
                <a:moveTo>
                  <a:pt x="65620" y="0"/>
                </a:moveTo>
                <a:lnTo>
                  <a:pt x="1416339" y="0"/>
                </a:lnTo>
                <a:cubicBezTo>
                  <a:pt x="1452581" y="0"/>
                  <a:pt x="1481959" y="29379"/>
                  <a:pt x="1481959" y="65621"/>
                </a:cubicBezTo>
                <a:lnTo>
                  <a:pt x="1481959" y="896697"/>
                </a:lnTo>
                <a:cubicBezTo>
                  <a:pt x="1481959" y="932938"/>
                  <a:pt x="1452581" y="962317"/>
                  <a:pt x="1416339" y="962317"/>
                </a:cubicBezTo>
                <a:lnTo>
                  <a:pt x="65620" y="962317"/>
                </a:lnTo>
                <a:cubicBezTo>
                  <a:pt x="29379" y="962317"/>
                  <a:pt x="0" y="932938"/>
                  <a:pt x="0" y="896697"/>
                </a:cubicBezTo>
                <a:lnTo>
                  <a:pt x="0" y="65621"/>
                </a:lnTo>
                <a:cubicBezTo>
                  <a:pt x="0" y="29379"/>
                  <a:pt x="29379" y="0"/>
                  <a:pt x="65620" y="0"/>
                </a:cubicBezTo>
                <a:close/>
              </a:path>
            </a:pathLst>
          </a:custGeom>
          <a:solidFill>
            <a:srgbClr val="D83B0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604" tIns="44802" rIns="44802" bIns="89604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5575">
              <a:defRPr/>
            </a:pPr>
            <a:endParaRPr lang="en-US" sz="12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4452485" y="2410561"/>
            <a:ext cx="365708" cy="365708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D83B01"/>
            </a:solidFill>
            <a:prstDash val="solid"/>
          </a:ln>
          <a:effectLst/>
        </p:spPr>
        <p:txBody>
          <a:bodyPr rot="0" spcFirstLastPara="0" vertOverflow="overflow" horzOverflow="overflow" vert="horz" wrap="square" lIns="89604" tIns="44802" rIns="89604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2979">
              <a:defRPr/>
            </a:pPr>
            <a:endParaRPr lang="en-US" sz="1600" ker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4534769" y="2501988"/>
            <a:ext cx="201140" cy="182854"/>
          </a:xfrm>
          <a:prstGeom prst="rect">
            <a:avLst/>
          </a:prstGeom>
          <a:solidFill>
            <a:srgbClr val="D83B0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698">
              <a:defRPr/>
            </a:pPr>
            <a:r>
              <a:rPr lang="en-IN" sz="1400" kern="0" dirty="0">
                <a:solidFill>
                  <a:prstClr val="white"/>
                </a:solidFill>
                <a:latin typeface="+mj-lt"/>
                <a:cs typeface="Segoe UI Semibold" panose="020B0702040204020203" pitchFamily="34" charset="0"/>
              </a:rPr>
              <a:t>?</a:t>
            </a:r>
          </a:p>
        </p:txBody>
      </p:sp>
      <p:sp>
        <p:nvSpPr>
          <p:cNvPr id="50" name="Freeform 57"/>
          <p:cNvSpPr>
            <a:spLocks noChangeAspect="1"/>
          </p:cNvSpPr>
          <p:nvPr/>
        </p:nvSpPr>
        <p:spPr bwMode="auto">
          <a:xfrm>
            <a:off x="3230747" y="2289376"/>
            <a:ext cx="1078460" cy="700303"/>
          </a:xfrm>
          <a:custGeom>
            <a:avLst/>
            <a:gdLst>
              <a:gd name="connsiteX0" fmla="*/ 678350 w 1481959"/>
              <a:gd name="connsiteY0" fmla="*/ 258990 h 962317"/>
              <a:gd name="connsiteX1" fmla="*/ 688805 w 1481959"/>
              <a:gd name="connsiteY1" fmla="*/ 259224 h 962317"/>
              <a:gd name="connsiteX2" fmla="*/ 971484 w 1481959"/>
              <a:gd name="connsiteY2" fmla="*/ 259224 h 962317"/>
              <a:gd name="connsiteX3" fmla="*/ 1006067 w 1481959"/>
              <a:gd name="connsiteY3" fmla="*/ 292305 h 962317"/>
              <a:gd name="connsiteX4" fmla="*/ 1006067 w 1481959"/>
              <a:gd name="connsiteY4" fmla="*/ 576488 h 962317"/>
              <a:gd name="connsiteX5" fmla="*/ 1004269 w 1481959"/>
              <a:gd name="connsiteY5" fmla="*/ 595185 h 962317"/>
              <a:gd name="connsiteX6" fmla="*/ 996845 w 1481959"/>
              <a:gd name="connsiteY6" fmla="*/ 596703 h 962317"/>
              <a:gd name="connsiteX7" fmla="*/ 946477 w 1481959"/>
              <a:gd name="connsiteY7" fmla="*/ 546841 h 962317"/>
              <a:gd name="connsiteX8" fmla="*/ 903068 w 1481959"/>
              <a:gd name="connsiteY8" fmla="*/ 547059 h 962317"/>
              <a:gd name="connsiteX9" fmla="*/ 711725 w 1481959"/>
              <a:gd name="connsiteY9" fmla="*/ 740344 h 962317"/>
              <a:gd name="connsiteX10" fmla="*/ 661739 w 1481959"/>
              <a:gd name="connsiteY10" fmla="*/ 719332 h 962317"/>
              <a:gd name="connsiteX11" fmla="*/ 535436 w 1481959"/>
              <a:gd name="connsiteY11" fmla="*/ 593028 h 962317"/>
              <a:gd name="connsiteX12" fmla="*/ 520710 w 1481959"/>
              <a:gd name="connsiteY12" fmla="*/ 557602 h 962317"/>
              <a:gd name="connsiteX13" fmla="*/ 597984 w 1481959"/>
              <a:gd name="connsiteY13" fmla="*/ 478826 h 962317"/>
              <a:gd name="connsiteX14" fmla="*/ 709855 w 1481959"/>
              <a:gd name="connsiteY14" fmla="*/ 368988 h 962317"/>
              <a:gd name="connsiteX15" fmla="*/ 720565 w 1481959"/>
              <a:gd name="connsiteY15" fmla="*/ 351055 h 962317"/>
              <a:gd name="connsiteX16" fmla="*/ 722022 w 1481959"/>
              <a:gd name="connsiteY16" fmla="*/ 347917 h 962317"/>
              <a:gd name="connsiteX17" fmla="*/ 723721 w 1481959"/>
              <a:gd name="connsiteY17" fmla="*/ 338718 h 962317"/>
              <a:gd name="connsiteX18" fmla="*/ 723262 w 1481959"/>
              <a:gd name="connsiteY18" fmla="*/ 334338 h 962317"/>
              <a:gd name="connsiteX19" fmla="*/ 723111 w 1481959"/>
              <a:gd name="connsiteY19" fmla="*/ 333602 h 962317"/>
              <a:gd name="connsiteX20" fmla="*/ 714729 w 1481959"/>
              <a:gd name="connsiteY20" fmla="*/ 315979 h 962317"/>
              <a:gd name="connsiteX21" fmla="*/ 678087 w 1481959"/>
              <a:gd name="connsiteY21" fmla="*/ 280035 h 962317"/>
              <a:gd name="connsiteX22" fmla="*/ 668098 w 1481959"/>
              <a:gd name="connsiteY22" fmla="*/ 262301 h 962317"/>
              <a:gd name="connsiteX23" fmla="*/ 678350 w 1481959"/>
              <a:gd name="connsiteY23" fmla="*/ 258990 h 962317"/>
              <a:gd name="connsiteX24" fmla="*/ 72174 w 1481959"/>
              <a:gd name="connsiteY24" fmla="*/ 72174 h 962317"/>
              <a:gd name="connsiteX25" fmla="*/ 72174 w 1481959"/>
              <a:gd name="connsiteY25" fmla="*/ 887737 h 962317"/>
              <a:gd name="connsiteX26" fmla="*/ 1402569 w 1481959"/>
              <a:gd name="connsiteY26" fmla="*/ 887737 h 962317"/>
              <a:gd name="connsiteX27" fmla="*/ 1402569 w 1481959"/>
              <a:gd name="connsiteY27" fmla="*/ 72174 h 962317"/>
              <a:gd name="connsiteX28" fmla="*/ 65620 w 1481959"/>
              <a:gd name="connsiteY28" fmla="*/ 0 h 962317"/>
              <a:gd name="connsiteX29" fmla="*/ 1416339 w 1481959"/>
              <a:gd name="connsiteY29" fmla="*/ 0 h 962317"/>
              <a:gd name="connsiteX30" fmla="*/ 1481959 w 1481959"/>
              <a:gd name="connsiteY30" fmla="*/ 65621 h 962317"/>
              <a:gd name="connsiteX31" fmla="*/ 1481959 w 1481959"/>
              <a:gd name="connsiteY31" fmla="*/ 896697 h 962317"/>
              <a:gd name="connsiteX32" fmla="*/ 1416339 w 1481959"/>
              <a:gd name="connsiteY32" fmla="*/ 962317 h 962317"/>
              <a:gd name="connsiteX33" fmla="*/ 65620 w 1481959"/>
              <a:gd name="connsiteY33" fmla="*/ 962317 h 962317"/>
              <a:gd name="connsiteX34" fmla="*/ 0 w 1481959"/>
              <a:gd name="connsiteY34" fmla="*/ 896697 h 962317"/>
              <a:gd name="connsiteX35" fmla="*/ 0 w 1481959"/>
              <a:gd name="connsiteY35" fmla="*/ 65621 h 962317"/>
              <a:gd name="connsiteX36" fmla="*/ 65620 w 1481959"/>
              <a:gd name="connsiteY36" fmla="*/ 0 h 962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481959" h="962317">
                <a:moveTo>
                  <a:pt x="678350" y="258990"/>
                </a:moveTo>
                <a:cubicBezTo>
                  <a:pt x="681742" y="259020"/>
                  <a:pt x="685484" y="259288"/>
                  <a:pt x="688805" y="259224"/>
                </a:cubicBezTo>
                <a:lnTo>
                  <a:pt x="971484" y="259224"/>
                </a:lnTo>
                <a:cubicBezTo>
                  <a:pt x="1000302" y="256718"/>
                  <a:pt x="1008071" y="270753"/>
                  <a:pt x="1006067" y="292305"/>
                </a:cubicBezTo>
                <a:lnTo>
                  <a:pt x="1006067" y="576488"/>
                </a:lnTo>
                <a:lnTo>
                  <a:pt x="1004269" y="595185"/>
                </a:lnTo>
                <a:cubicBezTo>
                  <a:pt x="1002451" y="598026"/>
                  <a:pt x="999695" y="598003"/>
                  <a:pt x="996845" y="596703"/>
                </a:cubicBezTo>
                <a:lnTo>
                  <a:pt x="946477" y="546841"/>
                </a:lnTo>
                <a:cubicBezTo>
                  <a:pt x="934430" y="534914"/>
                  <a:pt x="914995" y="535011"/>
                  <a:pt x="903068" y="547059"/>
                </a:cubicBezTo>
                <a:lnTo>
                  <a:pt x="711725" y="740344"/>
                </a:lnTo>
                <a:cubicBezTo>
                  <a:pt x="699360" y="748226"/>
                  <a:pt x="689313" y="744295"/>
                  <a:pt x="661739" y="719332"/>
                </a:cubicBezTo>
                <a:lnTo>
                  <a:pt x="535436" y="593028"/>
                </a:lnTo>
                <a:cubicBezTo>
                  <a:pt x="524870" y="579553"/>
                  <a:pt x="516830" y="569445"/>
                  <a:pt x="520710" y="557602"/>
                </a:cubicBezTo>
                <a:lnTo>
                  <a:pt x="597984" y="478826"/>
                </a:lnTo>
                <a:lnTo>
                  <a:pt x="709855" y="368988"/>
                </a:lnTo>
                <a:cubicBezTo>
                  <a:pt x="715078" y="361976"/>
                  <a:pt x="718582" y="356117"/>
                  <a:pt x="720565" y="351055"/>
                </a:cubicBezTo>
                <a:cubicBezTo>
                  <a:pt x="721405" y="350159"/>
                  <a:pt x="721848" y="349083"/>
                  <a:pt x="722022" y="347917"/>
                </a:cubicBezTo>
                <a:cubicBezTo>
                  <a:pt x="723326" y="344409"/>
                  <a:pt x="723862" y="341379"/>
                  <a:pt x="723721" y="338718"/>
                </a:cubicBezTo>
                <a:cubicBezTo>
                  <a:pt x="723959" y="337241"/>
                  <a:pt x="723892" y="335759"/>
                  <a:pt x="723262" y="334338"/>
                </a:cubicBezTo>
                <a:cubicBezTo>
                  <a:pt x="723291" y="334071"/>
                  <a:pt x="723225" y="333829"/>
                  <a:pt x="723111" y="333602"/>
                </a:cubicBezTo>
                <a:cubicBezTo>
                  <a:pt x="722700" y="327088"/>
                  <a:pt x="719734" y="320887"/>
                  <a:pt x="714729" y="315979"/>
                </a:cubicBezTo>
                <a:lnTo>
                  <a:pt x="678087" y="280035"/>
                </a:lnTo>
                <a:lnTo>
                  <a:pt x="668098" y="262301"/>
                </a:lnTo>
                <a:cubicBezTo>
                  <a:pt x="669005" y="259420"/>
                  <a:pt x="673283" y="258942"/>
                  <a:pt x="678350" y="258990"/>
                </a:cubicBezTo>
                <a:close/>
                <a:moveTo>
                  <a:pt x="72174" y="72174"/>
                </a:moveTo>
                <a:lnTo>
                  <a:pt x="72174" y="887737"/>
                </a:lnTo>
                <a:lnTo>
                  <a:pt x="1402569" y="887737"/>
                </a:lnTo>
                <a:lnTo>
                  <a:pt x="1402569" y="72174"/>
                </a:lnTo>
                <a:close/>
                <a:moveTo>
                  <a:pt x="65620" y="0"/>
                </a:moveTo>
                <a:lnTo>
                  <a:pt x="1416339" y="0"/>
                </a:lnTo>
                <a:cubicBezTo>
                  <a:pt x="1452581" y="0"/>
                  <a:pt x="1481959" y="29379"/>
                  <a:pt x="1481959" y="65621"/>
                </a:cubicBezTo>
                <a:lnTo>
                  <a:pt x="1481959" y="896697"/>
                </a:lnTo>
                <a:cubicBezTo>
                  <a:pt x="1481959" y="932938"/>
                  <a:pt x="1452581" y="962317"/>
                  <a:pt x="1416339" y="962317"/>
                </a:cubicBezTo>
                <a:lnTo>
                  <a:pt x="65620" y="962317"/>
                </a:lnTo>
                <a:cubicBezTo>
                  <a:pt x="29379" y="962317"/>
                  <a:pt x="0" y="932938"/>
                  <a:pt x="0" y="896697"/>
                </a:cubicBezTo>
                <a:lnTo>
                  <a:pt x="0" y="65621"/>
                </a:lnTo>
                <a:cubicBezTo>
                  <a:pt x="0" y="29379"/>
                  <a:pt x="29379" y="0"/>
                  <a:pt x="65620" y="0"/>
                </a:cubicBezTo>
                <a:close/>
              </a:path>
            </a:pathLst>
          </a:custGeom>
          <a:solidFill>
            <a:srgbClr val="D83B01">
              <a:lumMod val="75000"/>
            </a:srgbClr>
          </a:solidFill>
          <a:ln w="25400" cap="flat" cmpd="sng" algn="ctr">
            <a:solidFill>
              <a:srgbClr val="D83B01"/>
            </a:solidFill>
            <a:prstDash val="solid"/>
          </a:ln>
          <a:effectLst/>
        </p:spPr>
        <p:txBody>
          <a:bodyPr rot="0" spcFirstLastPara="0" vertOverflow="overflow" horzOverflow="overflow" vert="horz" wrap="square" lIns="89604" tIns="44802" rIns="44802" bIns="89604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5575">
              <a:defRPr/>
            </a:pPr>
            <a:endParaRPr lang="en-US" sz="12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3292383" y="2358154"/>
            <a:ext cx="942841" cy="56906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604" tIns="44802" rIns="89604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2979">
              <a:defRPr/>
            </a:pPr>
            <a:endParaRPr lang="en-US" sz="1600" ker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676048" y="2624488"/>
            <a:ext cx="255886" cy="255886"/>
          </a:xfrm>
          <a:prstGeom prst="rect">
            <a:avLst/>
          </a:prstGeom>
          <a:solidFill>
            <a:srgbClr val="D83B0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698">
              <a:defRPr/>
            </a:pPr>
            <a:r>
              <a:rPr lang="en-IN" sz="1400" kern="0" dirty="0">
                <a:solidFill>
                  <a:prstClr val="white"/>
                </a:solidFill>
                <a:latin typeface="+mj-lt"/>
                <a:cs typeface="Segoe UI Semibold" panose="020B0702040204020203" pitchFamily="34" charset="0"/>
              </a:rPr>
              <a:t>R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251426" y="2349885"/>
            <a:ext cx="1038552" cy="2649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698"/>
            <a:r>
              <a:rPr lang="en-US" sz="1100" kern="0" dirty="0">
                <a:solidFill>
                  <a:srgbClr val="505050"/>
                </a:solidFill>
                <a:latin typeface="+mj-lt"/>
                <a:cs typeface="Segoe UI Semibold" panose="020B0702040204020203" pitchFamily="34" charset="0"/>
              </a:rPr>
              <a:t>R Integration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737364" y="4035262"/>
            <a:ext cx="2077016" cy="56050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indent="-358348" algn="ctr" defTabSz="913698"/>
            <a:r>
              <a:rPr lang="en-US" sz="1600" kern="0">
                <a:solidFill>
                  <a:schemeClr val="bg2"/>
                </a:solidFill>
                <a:latin typeface="+mj-lt"/>
                <a:cs typeface="Segoe UI Semibold" panose="020B0702040204020203" pitchFamily="34" charset="0"/>
              </a:rPr>
              <a:t>Analytic Library</a:t>
            </a:r>
            <a:endParaRPr lang="en-US" sz="1600" kern="0" dirty="0">
              <a:solidFill>
                <a:schemeClr val="bg2"/>
              </a:solidFill>
              <a:latin typeface="+mj-lt"/>
              <a:cs typeface="Segoe UI Semibold" panose="020B0702040204020203" pitchFamily="34" charset="0"/>
            </a:endParaRPr>
          </a:p>
        </p:txBody>
      </p:sp>
      <p:sp>
        <p:nvSpPr>
          <p:cNvPr id="54" name="Down Arrow 61"/>
          <p:cNvSpPr/>
          <p:nvPr/>
        </p:nvSpPr>
        <p:spPr>
          <a:xfrm flipV="1">
            <a:off x="3383547" y="3078400"/>
            <a:ext cx="301709" cy="457135"/>
          </a:xfrm>
          <a:prstGeom prst="downArrow">
            <a:avLst/>
          </a:prstGeom>
          <a:solidFill>
            <a:srgbClr val="D83B0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698">
              <a:defRPr/>
            </a:pPr>
            <a:endParaRPr lang="en-IN" kern="0">
              <a:solidFill>
                <a:srgbClr val="44546A"/>
              </a:solidFill>
              <a:latin typeface="+mj-lt"/>
            </a:endParaRPr>
          </a:p>
        </p:txBody>
      </p:sp>
      <p:sp>
        <p:nvSpPr>
          <p:cNvPr id="55" name="Down Arrow 62"/>
          <p:cNvSpPr/>
          <p:nvPr/>
        </p:nvSpPr>
        <p:spPr bwMode="auto">
          <a:xfrm>
            <a:off x="3868255" y="3078400"/>
            <a:ext cx="301709" cy="457135"/>
          </a:xfrm>
          <a:prstGeom prst="downArrow">
            <a:avLst/>
          </a:prstGeom>
          <a:solidFill>
            <a:srgbClr val="D83B0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>
              <a:defRPr/>
            </a:pPr>
            <a:endParaRPr lang="en-US" sz="20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747815" y="4563808"/>
            <a:ext cx="2040638" cy="43335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3698"/>
            <a:r>
              <a:rPr lang="en-US" sz="1200" kern="0">
                <a:solidFill>
                  <a:schemeClr val="bg2"/>
                </a:solidFill>
                <a:latin typeface="+mj-lt"/>
                <a:cs typeface="Segoe UI Semibold" panose="020B0702040204020203" pitchFamily="34" charset="0"/>
              </a:rPr>
              <a:t>T-SQL Interface</a:t>
            </a:r>
            <a:br>
              <a:rPr lang="en-US" sz="1200" kern="0">
                <a:solidFill>
                  <a:schemeClr val="bg2"/>
                </a:solidFill>
                <a:latin typeface="+mj-lt"/>
                <a:cs typeface="Segoe UI Semibold" panose="020B0702040204020203" pitchFamily="34" charset="0"/>
              </a:rPr>
            </a:br>
            <a:r>
              <a:rPr lang="en-US" sz="1200" kern="0">
                <a:solidFill>
                  <a:schemeClr val="bg2"/>
                </a:solidFill>
                <a:latin typeface="+mj-lt"/>
                <a:cs typeface="Segoe UI Semibold" panose="020B0702040204020203" pitchFamily="34" charset="0"/>
              </a:rPr>
              <a:t>open source/Microsoft R</a:t>
            </a:r>
            <a:endParaRPr lang="en-US" sz="1200" kern="0" dirty="0">
              <a:solidFill>
                <a:schemeClr val="bg2"/>
              </a:solidFill>
              <a:latin typeface="+mj-lt"/>
              <a:cs typeface="Segoe UI Semibold" panose="020B0702040204020203" pitchFamily="34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7768602" y="1607254"/>
            <a:ext cx="4044249" cy="2212295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4802" rIns="0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070">
              <a:spcBef>
                <a:spcPts val="600"/>
              </a:spcBef>
            </a:pPr>
            <a:r>
              <a:rPr lang="en-US" sz="2400" kern="0" dirty="0">
                <a:solidFill>
                  <a:schemeClr val="accent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How is it Integrated?</a:t>
            </a:r>
          </a:p>
          <a:p>
            <a:pPr marL="399973" indent="-285695" defTabSz="1087869">
              <a:spcBef>
                <a:spcPts val="1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chemeClr val="accent1"/>
                </a:solidFill>
                <a:latin typeface="Segoe UI Light"/>
                <a:ea typeface="Segoe UI" pitchFamily="34" charset="0"/>
                <a:cs typeface="Segoe UI" pitchFamily="34" charset="0"/>
              </a:rPr>
              <a:t>T-SQL calls a Stored Procedure</a:t>
            </a:r>
          </a:p>
          <a:p>
            <a:pPr marL="399973" indent="-285695" defTabSz="1087869">
              <a:spcBef>
                <a:spcPts val="1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chemeClr val="accent1"/>
                </a:solidFill>
                <a:latin typeface="Segoe UI Light"/>
                <a:ea typeface="Segoe UI" pitchFamily="34" charset="0"/>
                <a:cs typeface="Segoe UI" pitchFamily="34" charset="0"/>
              </a:rPr>
              <a:t>Script is run in SQL through extensibility model</a:t>
            </a:r>
          </a:p>
          <a:p>
            <a:pPr marL="399973" indent="-285695" defTabSz="1087869">
              <a:spcBef>
                <a:spcPts val="1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chemeClr val="accent1"/>
                </a:solidFill>
                <a:latin typeface="Segoe UI Light"/>
                <a:ea typeface="Segoe UI" pitchFamily="34" charset="0"/>
                <a:cs typeface="Segoe UI" pitchFamily="34" charset="0"/>
              </a:rPr>
              <a:t>Result sets sent through Web API to database or applications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7768602" y="3819549"/>
            <a:ext cx="4044249" cy="246235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4802" rIns="0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070">
              <a:spcBef>
                <a:spcPts val="600"/>
              </a:spcBef>
              <a:defRPr/>
            </a:pPr>
            <a:r>
              <a:rPr lang="en-US" sz="2400" kern="0" dirty="0">
                <a:solidFill>
                  <a:schemeClr val="accent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Benefits</a:t>
            </a:r>
          </a:p>
          <a:p>
            <a:pPr marL="399973" indent="-285695" defTabSz="1087869">
              <a:spcBef>
                <a:spcPts val="1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chemeClr val="accent1"/>
                </a:solidFill>
                <a:latin typeface="Segoe UI Light"/>
                <a:ea typeface="Segoe UI" pitchFamily="34" charset="0"/>
                <a:cs typeface="Segoe UI" pitchFamily="34" charset="0"/>
              </a:rPr>
              <a:t>Faster deployment of ML models</a:t>
            </a:r>
          </a:p>
          <a:p>
            <a:pPr marL="399973" indent="-285695" defTabSz="1087869">
              <a:spcBef>
                <a:spcPts val="1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chemeClr val="accent1"/>
                </a:solidFill>
                <a:latin typeface="Segoe UI Light"/>
                <a:ea typeface="Segoe UI" pitchFamily="34" charset="0"/>
                <a:cs typeface="Segoe UI" pitchFamily="34" charset="0"/>
              </a:rPr>
              <a:t>Less data movement, faster insights</a:t>
            </a:r>
          </a:p>
          <a:p>
            <a:pPr marL="399973" indent="-285695" defTabSz="1087869">
              <a:spcBef>
                <a:spcPts val="1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chemeClr val="accent1"/>
                </a:solidFill>
                <a:latin typeface="Segoe UI Light"/>
                <a:ea typeface="Segoe UI" pitchFamily="34" charset="0"/>
                <a:cs typeface="Segoe UI" pitchFamily="34" charset="0"/>
              </a:rPr>
              <a:t>Work with large datasets: mitigate R memory and scalability limitations</a:t>
            </a:r>
          </a:p>
        </p:txBody>
      </p:sp>
    </p:spTree>
    <p:extLst>
      <p:ext uri="{BB962C8B-B14F-4D97-AF65-F5344CB8AC3E}">
        <p14:creationId xmlns:p14="http://schemas.microsoft.com/office/powerpoint/2010/main" val="20442494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  <p:bldP spid="5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 Server operationalisation</a:t>
            </a:r>
          </a:p>
        </p:txBody>
      </p:sp>
    </p:spTree>
    <p:extLst>
      <p:ext uri="{BB962C8B-B14F-4D97-AF65-F5344CB8AC3E}">
        <p14:creationId xmlns:p14="http://schemas.microsoft.com/office/powerpoint/2010/main" val="2041082152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erationalising advanced analytics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6129762" y="1558213"/>
            <a:ext cx="2633454" cy="4699028"/>
          </a:xfrm>
          <a:prstGeom prst="rect">
            <a:avLst/>
          </a:prstGeom>
          <a:solidFill>
            <a:schemeClr val="accent6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4">
              <a:lnSpc>
                <a:spcPct val="90000"/>
              </a:lnSpc>
            </a:pPr>
            <a:endParaRPr lang="en-US" sz="2745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591751" y="1558213"/>
            <a:ext cx="2633454" cy="4699028"/>
          </a:xfrm>
          <a:prstGeom prst="rect">
            <a:avLst/>
          </a:prstGeom>
          <a:solidFill>
            <a:schemeClr val="accent6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4">
              <a:lnSpc>
                <a:spcPct val="90000"/>
              </a:lnSpc>
            </a:pPr>
            <a:endParaRPr lang="en-US" sz="2745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8899198" y="1558213"/>
            <a:ext cx="2631747" cy="4686579"/>
          </a:xfrm>
          <a:prstGeom prst="rect">
            <a:avLst/>
          </a:prstGeom>
          <a:solidFill>
            <a:schemeClr val="accent6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4">
              <a:lnSpc>
                <a:spcPct val="90000"/>
              </a:lnSpc>
            </a:pPr>
            <a:endParaRPr lang="en-US" sz="2745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362037" y="1558213"/>
            <a:ext cx="2631748" cy="4699029"/>
            <a:chOff x="3355858" y="1877030"/>
            <a:chExt cx="2684900" cy="4793934"/>
          </a:xfrm>
          <a:solidFill>
            <a:schemeClr val="accent6"/>
          </a:solidFill>
        </p:grpSpPr>
        <p:sp>
          <p:nvSpPr>
            <p:cNvPr id="7" name="Rectangle 6"/>
            <p:cNvSpPr/>
            <p:nvPr/>
          </p:nvSpPr>
          <p:spPr bwMode="auto">
            <a:xfrm>
              <a:off x="3355858" y="1877030"/>
              <a:ext cx="2684900" cy="4793934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4">
                <a:lnSpc>
                  <a:spcPct val="90000"/>
                </a:lnSpc>
              </a:pPr>
              <a:endParaRPr lang="en-US" sz="2745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4183340" y="2159000"/>
              <a:ext cx="1003102" cy="1395309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36080" indent="-336080" algn="ctr" defTabSz="913927">
                <a:lnSpc>
                  <a:spcPct val="90000"/>
                </a:lnSpc>
                <a:buFont typeface="Wingdings 3" panose="05040102010807070707" pitchFamily="18" charset="2"/>
                <a:buChar char="Æ"/>
              </a:pPr>
              <a:endParaRPr lang="en-US" sz="1961" b="1" kern="0" err="1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Rectangle 8"/>
          <p:cNvSpPr/>
          <p:nvPr/>
        </p:nvSpPr>
        <p:spPr bwMode="auto">
          <a:xfrm>
            <a:off x="588789" y="3888883"/>
            <a:ext cx="2636415" cy="237399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30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880" indent="-182880" defTabSz="913576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Turn R analytics </a:t>
            </a: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  <a:sym typeface="Wingdings" panose="05000000000000000000" pitchFamily="2" charset="2"/>
              </a:rPr>
              <a:t></a:t>
            </a: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 Web services in one line of code;</a:t>
            </a:r>
          </a:p>
          <a:p>
            <a:pPr marL="182880" indent="-182880" defTabSz="913576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Swagger-based REST APIs, easy to consume, with any programming languages, including R!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3362037" y="3883359"/>
            <a:ext cx="2631747" cy="237951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30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880" indent="-182880" defTabSz="913576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Deploying web service server to any platform: Windows, SQL, Linux/Hadoop</a:t>
            </a:r>
          </a:p>
          <a:p>
            <a:pPr marL="182880" indent="-182880" defTabSz="913576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On-</a:t>
            </a:r>
            <a:r>
              <a:rPr lang="en-US" sz="1600" kern="0" dirty="0" err="1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prem</a:t>
            </a: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 or in cloud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6130616" y="3888881"/>
            <a:ext cx="2631747" cy="237399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89630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880" indent="-182880" defTabSz="913576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Fast scoring, real time and batch</a:t>
            </a:r>
          </a:p>
          <a:p>
            <a:pPr marL="182880" indent="-182880" defTabSz="913576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Scaling to a grid for powerful computing with load balancing</a:t>
            </a:r>
          </a:p>
          <a:p>
            <a:pPr marL="182880" indent="-182880" defTabSz="913576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Diagnostic and capacity evaluation tools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8899198" y="3888882"/>
            <a:ext cx="2631748" cy="236835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880" indent="-182880" defTabSz="913576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Enterprise authentication: AD/LDAP or AAD</a:t>
            </a:r>
          </a:p>
          <a:p>
            <a:pPr marL="182880" indent="-182880" defTabSz="913576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Secure connection: HTTPS with SSL/TLS 1.2 </a:t>
            </a:r>
          </a:p>
          <a:p>
            <a:pPr marL="182880" indent="-182880" defTabSz="913576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Enterprise grade high availability</a:t>
            </a:r>
          </a:p>
          <a:p>
            <a:pPr marL="182880" indent="-182880" defTabSz="913576"/>
            <a:endParaRPr lang="en-US" sz="1765" kern="0" dirty="0">
              <a:solidFill>
                <a:srgbClr val="00000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 rot="10317452">
            <a:off x="1038978" y="2030803"/>
            <a:ext cx="1576893" cy="1021731"/>
            <a:chOff x="3643867" y="3838648"/>
            <a:chExt cx="1899286" cy="1230622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3643867" y="3838648"/>
              <a:ext cx="1005365" cy="1010107"/>
            </a:xfrm>
            <a:custGeom>
              <a:avLst/>
              <a:gdLst>
                <a:gd name="T0" fmla="*/ 238 w 265"/>
                <a:gd name="T1" fmla="*/ 106 h 265"/>
                <a:gd name="T2" fmla="*/ 253 w 265"/>
                <a:gd name="T3" fmla="*/ 77 h 265"/>
                <a:gd name="T4" fmla="*/ 219 w 265"/>
                <a:gd name="T5" fmla="*/ 67 h 265"/>
                <a:gd name="T6" fmla="*/ 221 w 265"/>
                <a:gd name="T7" fmla="*/ 34 h 265"/>
                <a:gd name="T8" fmla="*/ 188 w 265"/>
                <a:gd name="T9" fmla="*/ 39 h 265"/>
                <a:gd name="T10" fmla="*/ 177 w 265"/>
                <a:gd name="T11" fmla="*/ 8 h 265"/>
                <a:gd name="T12" fmla="*/ 147 w 265"/>
                <a:gd name="T13" fmla="*/ 25 h 265"/>
                <a:gd name="T14" fmla="*/ 126 w 265"/>
                <a:gd name="T15" fmla="*/ 0 h 265"/>
                <a:gd name="T16" fmla="*/ 105 w 265"/>
                <a:gd name="T17" fmla="*/ 27 h 265"/>
                <a:gd name="T18" fmla="*/ 76 w 265"/>
                <a:gd name="T19" fmla="*/ 13 h 265"/>
                <a:gd name="T20" fmla="*/ 66 w 265"/>
                <a:gd name="T21" fmla="*/ 46 h 265"/>
                <a:gd name="T22" fmla="*/ 34 w 265"/>
                <a:gd name="T23" fmla="*/ 44 h 265"/>
                <a:gd name="T24" fmla="*/ 38 w 265"/>
                <a:gd name="T25" fmla="*/ 77 h 265"/>
                <a:gd name="T26" fmla="*/ 8 w 265"/>
                <a:gd name="T27" fmla="*/ 88 h 265"/>
                <a:gd name="T28" fmla="*/ 24 w 265"/>
                <a:gd name="T29" fmla="*/ 118 h 265"/>
                <a:gd name="T30" fmla="*/ 0 w 265"/>
                <a:gd name="T31" fmla="*/ 140 h 265"/>
                <a:gd name="T32" fmla="*/ 27 w 265"/>
                <a:gd name="T33" fmla="*/ 160 h 265"/>
                <a:gd name="T34" fmla="*/ 12 w 265"/>
                <a:gd name="T35" fmla="*/ 189 h 265"/>
                <a:gd name="T36" fmla="*/ 46 w 265"/>
                <a:gd name="T37" fmla="*/ 199 h 265"/>
                <a:gd name="T38" fmla="*/ 43 w 265"/>
                <a:gd name="T39" fmla="*/ 231 h 265"/>
                <a:gd name="T40" fmla="*/ 77 w 265"/>
                <a:gd name="T41" fmla="*/ 227 h 265"/>
                <a:gd name="T42" fmla="*/ 87 w 265"/>
                <a:gd name="T43" fmla="*/ 258 h 265"/>
                <a:gd name="T44" fmla="*/ 118 w 265"/>
                <a:gd name="T45" fmla="*/ 241 h 265"/>
                <a:gd name="T46" fmla="*/ 139 w 265"/>
                <a:gd name="T47" fmla="*/ 265 h 265"/>
                <a:gd name="T48" fmla="*/ 160 w 265"/>
                <a:gd name="T49" fmla="*/ 239 h 265"/>
                <a:gd name="T50" fmla="*/ 189 w 265"/>
                <a:gd name="T51" fmla="*/ 253 h 265"/>
                <a:gd name="T52" fmla="*/ 198 w 265"/>
                <a:gd name="T53" fmla="*/ 220 h 265"/>
                <a:gd name="T54" fmla="*/ 231 w 265"/>
                <a:gd name="T55" fmla="*/ 222 h 265"/>
                <a:gd name="T56" fmla="*/ 226 w 265"/>
                <a:gd name="T57" fmla="*/ 188 h 265"/>
                <a:gd name="T58" fmla="*/ 257 w 265"/>
                <a:gd name="T59" fmla="*/ 178 h 265"/>
                <a:gd name="T60" fmla="*/ 241 w 265"/>
                <a:gd name="T61" fmla="*/ 148 h 265"/>
                <a:gd name="T62" fmla="*/ 265 w 265"/>
                <a:gd name="T63" fmla="*/ 126 h 265"/>
                <a:gd name="T64" fmla="*/ 204 w 265"/>
                <a:gd name="T65" fmla="*/ 158 h 265"/>
                <a:gd name="T66" fmla="*/ 204 w 265"/>
                <a:gd name="T67" fmla="*/ 108 h 265"/>
                <a:gd name="T68" fmla="*/ 214 w 265"/>
                <a:gd name="T69" fmla="*/ 154 h 265"/>
                <a:gd name="T70" fmla="*/ 163 w 265"/>
                <a:gd name="T71" fmla="*/ 109 h 265"/>
                <a:gd name="T72" fmla="*/ 175 w 265"/>
                <a:gd name="T73" fmla="*/ 60 h 265"/>
                <a:gd name="T74" fmla="*/ 111 w 265"/>
                <a:gd name="T75" fmla="*/ 50 h 265"/>
                <a:gd name="T76" fmla="*/ 158 w 265"/>
                <a:gd name="T77" fmla="*/ 60 h 265"/>
                <a:gd name="T78" fmla="*/ 107 w 265"/>
                <a:gd name="T79" fmla="*/ 60 h 265"/>
                <a:gd name="T80" fmla="*/ 132 w 265"/>
                <a:gd name="T81" fmla="*/ 154 h 265"/>
                <a:gd name="T82" fmla="*/ 153 w 265"/>
                <a:gd name="T83" fmla="*/ 133 h 265"/>
                <a:gd name="T84" fmla="*/ 108 w 265"/>
                <a:gd name="T85" fmla="*/ 101 h 265"/>
                <a:gd name="T86" fmla="*/ 59 w 265"/>
                <a:gd name="T87" fmla="*/ 89 h 265"/>
                <a:gd name="T88" fmla="*/ 50 w 265"/>
                <a:gd name="T89" fmla="*/ 153 h 265"/>
                <a:gd name="T90" fmla="*/ 60 w 265"/>
                <a:gd name="T91" fmla="*/ 107 h 265"/>
                <a:gd name="T92" fmla="*/ 60 w 265"/>
                <a:gd name="T93" fmla="*/ 157 h 265"/>
                <a:gd name="T94" fmla="*/ 63 w 265"/>
                <a:gd name="T95" fmla="*/ 165 h 265"/>
                <a:gd name="T96" fmla="*/ 98 w 265"/>
                <a:gd name="T97" fmla="*/ 201 h 265"/>
                <a:gd name="T98" fmla="*/ 58 w 265"/>
                <a:gd name="T99" fmla="*/ 175 h 265"/>
                <a:gd name="T100" fmla="*/ 110 w 265"/>
                <a:gd name="T101" fmla="*/ 214 h 265"/>
                <a:gd name="T102" fmla="*/ 136 w 265"/>
                <a:gd name="T103" fmla="*/ 171 h 265"/>
                <a:gd name="T104" fmla="*/ 174 w 265"/>
                <a:gd name="T105" fmla="*/ 206 h 265"/>
                <a:gd name="T106" fmla="*/ 162 w 265"/>
                <a:gd name="T107" fmla="*/ 157 h 265"/>
                <a:gd name="T108" fmla="*/ 192 w 265"/>
                <a:gd name="T109" fmla="*/ 193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5" h="265">
                  <a:moveTo>
                    <a:pt x="260" y="121"/>
                  </a:moveTo>
                  <a:cubicBezTo>
                    <a:pt x="241" y="118"/>
                    <a:pt x="241" y="118"/>
                    <a:pt x="241" y="118"/>
                  </a:cubicBezTo>
                  <a:cubicBezTo>
                    <a:pt x="240" y="114"/>
                    <a:pt x="239" y="110"/>
                    <a:pt x="238" y="106"/>
                  </a:cubicBezTo>
                  <a:cubicBezTo>
                    <a:pt x="255" y="95"/>
                    <a:pt x="255" y="95"/>
                    <a:pt x="255" y="95"/>
                  </a:cubicBezTo>
                  <a:cubicBezTo>
                    <a:pt x="258" y="94"/>
                    <a:pt x="259" y="91"/>
                    <a:pt x="258" y="89"/>
                  </a:cubicBezTo>
                  <a:cubicBezTo>
                    <a:pt x="253" y="77"/>
                    <a:pt x="253" y="77"/>
                    <a:pt x="253" y="77"/>
                  </a:cubicBezTo>
                  <a:cubicBezTo>
                    <a:pt x="252" y="74"/>
                    <a:pt x="249" y="73"/>
                    <a:pt x="246" y="74"/>
                  </a:cubicBezTo>
                  <a:cubicBezTo>
                    <a:pt x="227" y="78"/>
                    <a:pt x="227" y="78"/>
                    <a:pt x="227" y="78"/>
                  </a:cubicBezTo>
                  <a:cubicBezTo>
                    <a:pt x="225" y="74"/>
                    <a:pt x="222" y="71"/>
                    <a:pt x="219" y="67"/>
                  </a:cubicBezTo>
                  <a:cubicBezTo>
                    <a:pt x="231" y="51"/>
                    <a:pt x="231" y="51"/>
                    <a:pt x="231" y="51"/>
                  </a:cubicBezTo>
                  <a:cubicBezTo>
                    <a:pt x="233" y="49"/>
                    <a:pt x="233" y="46"/>
                    <a:pt x="231" y="44"/>
                  </a:cubicBezTo>
                  <a:cubicBezTo>
                    <a:pt x="221" y="34"/>
                    <a:pt x="221" y="34"/>
                    <a:pt x="221" y="34"/>
                  </a:cubicBezTo>
                  <a:cubicBezTo>
                    <a:pt x="220" y="33"/>
                    <a:pt x="217" y="33"/>
                    <a:pt x="215" y="34"/>
                  </a:cubicBezTo>
                  <a:cubicBezTo>
                    <a:pt x="198" y="46"/>
                    <a:pt x="198" y="46"/>
                    <a:pt x="198" y="46"/>
                  </a:cubicBezTo>
                  <a:cubicBezTo>
                    <a:pt x="195" y="43"/>
                    <a:pt x="192" y="41"/>
                    <a:pt x="188" y="39"/>
                  </a:cubicBezTo>
                  <a:cubicBezTo>
                    <a:pt x="193" y="19"/>
                    <a:pt x="193" y="19"/>
                    <a:pt x="193" y="19"/>
                  </a:cubicBezTo>
                  <a:cubicBezTo>
                    <a:pt x="193" y="17"/>
                    <a:pt x="192" y="14"/>
                    <a:pt x="190" y="13"/>
                  </a:cubicBezTo>
                  <a:cubicBezTo>
                    <a:pt x="177" y="8"/>
                    <a:pt x="177" y="8"/>
                    <a:pt x="177" y="8"/>
                  </a:cubicBezTo>
                  <a:cubicBezTo>
                    <a:pt x="175" y="7"/>
                    <a:pt x="172" y="8"/>
                    <a:pt x="171" y="10"/>
                  </a:cubicBezTo>
                  <a:cubicBezTo>
                    <a:pt x="161" y="28"/>
                    <a:pt x="161" y="28"/>
                    <a:pt x="161" y="28"/>
                  </a:cubicBezTo>
                  <a:cubicBezTo>
                    <a:pt x="156" y="26"/>
                    <a:pt x="152" y="25"/>
                    <a:pt x="147" y="2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2"/>
                    <a:pt x="142" y="0"/>
                    <a:pt x="139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2"/>
                    <a:pt x="121" y="5"/>
                  </a:cubicBezTo>
                  <a:cubicBezTo>
                    <a:pt x="118" y="25"/>
                    <a:pt x="118" y="25"/>
                    <a:pt x="118" y="25"/>
                  </a:cubicBezTo>
                  <a:cubicBezTo>
                    <a:pt x="113" y="25"/>
                    <a:pt x="109" y="26"/>
                    <a:pt x="105" y="27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4" y="8"/>
                    <a:pt x="91" y="7"/>
                    <a:pt x="88" y="8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4" y="14"/>
                    <a:pt x="72" y="16"/>
                    <a:pt x="73" y="19"/>
                  </a:cubicBezTo>
                  <a:cubicBezTo>
                    <a:pt x="78" y="38"/>
                    <a:pt x="78" y="38"/>
                    <a:pt x="78" y="38"/>
                  </a:cubicBezTo>
                  <a:cubicBezTo>
                    <a:pt x="74" y="41"/>
                    <a:pt x="70" y="43"/>
                    <a:pt x="66" y="46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48" y="33"/>
                    <a:pt x="45" y="33"/>
                    <a:pt x="43" y="3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2" y="46"/>
                    <a:pt x="32" y="49"/>
                    <a:pt x="33" y="5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3" y="70"/>
                    <a:pt x="41" y="74"/>
                    <a:pt x="38" y="77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6" y="72"/>
                    <a:pt x="14" y="73"/>
                    <a:pt x="13" y="75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7" y="90"/>
                    <a:pt x="8" y="93"/>
                    <a:pt x="10" y="94"/>
                  </a:cubicBezTo>
                  <a:cubicBezTo>
                    <a:pt x="27" y="105"/>
                    <a:pt x="27" y="105"/>
                    <a:pt x="27" y="105"/>
                  </a:cubicBezTo>
                  <a:cubicBezTo>
                    <a:pt x="26" y="109"/>
                    <a:pt x="25" y="114"/>
                    <a:pt x="24" y="118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2" y="121"/>
                    <a:pt x="0" y="124"/>
                    <a:pt x="0" y="126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2"/>
                    <a:pt x="2" y="144"/>
                    <a:pt x="4" y="145"/>
                  </a:cubicBezTo>
                  <a:cubicBezTo>
                    <a:pt x="24" y="148"/>
                    <a:pt x="24" y="148"/>
                    <a:pt x="24" y="148"/>
                  </a:cubicBezTo>
                  <a:cubicBezTo>
                    <a:pt x="25" y="152"/>
                    <a:pt x="26" y="156"/>
                    <a:pt x="27" y="160"/>
                  </a:cubicBezTo>
                  <a:cubicBezTo>
                    <a:pt x="9" y="170"/>
                    <a:pt x="9" y="170"/>
                    <a:pt x="9" y="170"/>
                  </a:cubicBezTo>
                  <a:cubicBezTo>
                    <a:pt x="7" y="172"/>
                    <a:pt x="6" y="175"/>
                    <a:pt x="7" y="177"/>
                  </a:cubicBezTo>
                  <a:cubicBezTo>
                    <a:pt x="12" y="189"/>
                    <a:pt x="12" y="189"/>
                    <a:pt x="12" y="189"/>
                  </a:cubicBezTo>
                  <a:cubicBezTo>
                    <a:pt x="13" y="192"/>
                    <a:pt x="16" y="193"/>
                    <a:pt x="18" y="192"/>
                  </a:cubicBezTo>
                  <a:cubicBezTo>
                    <a:pt x="38" y="187"/>
                    <a:pt x="38" y="187"/>
                    <a:pt x="38" y="187"/>
                  </a:cubicBezTo>
                  <a:cubicBezTo>
                    <a:pt x="40" y="191"/>
                    <a:pt x="43" y="195"/>
                    <a:pt x="46" y="199"/>
                  </a:cubicBezTo>
                  <a:cubicBezTo>
                    <a:pt x="33" y="215"/>
                    <a:pt x="33" y="215"/>
                    <a:pt x="33" y="215"/>
                  </a:cubicBezTo>
                  <a:cubicBezTo>
                    <a:pt x="32" y="217"/>
                    <a:pt x="32" y="220"/>
                    <a:pt x="34" y="222"/>
                  </a:cubicBezTo>
                  <a:cubicBezTo>
                    <a:pt x="43" y="231"/>
                    <a:pt x="43" y="231"/>
                    <a:pt x="43" y="231"/>
                  </a:cubicBezTo>
                  <a:cubicBezTo>
                    <a:pt x="45" y="233"/>
                    <a:pt x="48" y="233"/>
                    <a:pt x="50" y="232"/>
                  </a:cubicBezTo>
                  <a:cubicBezTo>
                    <a:pt x="66" y="220"/>
                    <a:pt x="66" y="220"/>
                    <a:pt x="66" y="220"/>
                  </a:cubicBezTo>
                  <a:cubicBezTo>
                    <a:pt x="70" y="222"/>
                    <a:pt x="73" y="225"/>
                    <a:pt x="77" y="227"/>
                  </a:cubicBezTo>
                  <a:cubicBezTo>
                    <a:pt x="72" y="246"/>
                    <a:pt x="72" y="246"/>
                    <a:pt x="72" y="246"/>
                  </a:cubicBezTo>
                  <a:cubicBezTo>
                    <a:pt x="71" y="249"/>
                    <a:pt x="73" y="252"/>
                    <a:pt x="75" y="253"/>
                  </a:cubicBezTo>
                  <a:cubicBezTo>
                    <a:pt x="87" y="258"/>
                    <a:pt x="87" y="258"/>
                    <a:pt x="87" y="258"/>
                  </a:cubicBezTo>
                  <a:cubicBezTo>
                    <a:pt x="90" y="259"/>
                    <a:pt x="92" y="258"/>
                    <a:pt x="94" y="256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8" y="240"/>
                    <a:pt x="113" y="240"/>
                    <a:pt x="118" y="241"/>
                  </a:cubicBezTo>
                  <a:cubicBezTo>
                    <a:pt x="121" y="261"/>
                    <a:pt x="121" y="261"/>
                    <a:pt x="121" y="261"/>
                  </a:cubicBezTo>
                  <a:cubicBezTo>
                    <a:pt x="121" y="263"/>
                    <a:pt x="123" y="265"/>
                    <a:pt x="126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42" y="265"/>
                    <a:pt x="144" y="263"/>
                    <a:pt x="144" y="261"/>
                  </a:cubicBezTo>
                  <a:cubicBezTo>
                    <a:pt x="147" y="241"/>
                    <a:pt x="147" y="241"/>
                    <a:pt x="147" y="241"/>
                  </a:cubicBezTo>
                  <a:cubicBezTo>
                    <a:pt x="151" y="240"/>
                    <a:pt x="156" y="240"/>
                    <a:pt x="160" y="239"/>
                  </a:cubicBezTo>
                  <a:cubicBezTo>
                    <a:pt x="170" y="256"/>
                    <a:pt x="170" y="256"/>
                    <a:pt x="170" y="256"/>
                  </a:cubicBezTo>
                  <a:cubicBezTo>
                    <a:pt x="171" y="258"/>
                    <a:pt x="174" y="259"/>
                    <a:pt x="176" y="258"/>
                  </a:cubicBezTo>
                  <a:cubicBezTo>
                    <a:pt x="189" y="253"/>
                    <a:pt x="189" y="253"/>
                    <a:pt x="189" y="253"/>
                  </a:cubicBezTo>
                  <a:cubicBezTo>
                    <a:pt x="191" y="252"/>
                    <a:pt x="192" y="249"/>
                    <a:pt x="192" y="247"/>
                  </a:cubicBezTo>
                  <a:cubicBezTo>
                    <a:pt x="187" y="227"/>
                    <a:pt x="187" y="227"/>
                    <a:pt x="187" y="227"/>
                  </a:cubicBezTo>
                  <a:cubicBezTo>
                    <a:pt x="191" y="225"/>
                    <a:pt x="195" y="223"/>
                    <a:pt x="198" y="220"/>
                  </a:cubicBezTo>
                  <a:cubicBezTo>
                    <a:pt x="215" y="232"/>
                    <a:pt x="215" y="232"/>
                    <a:pt x="215" y="232"/>
                  </a:cubicBezTo>
                  <a:cubicBezTo>
                    <a:pt x="217" y="233"/>
                    <a:pt x="220" y="233"/>
                    <a:pt x="221" y="231"/>
                  </a:cubicBezTo>
                  <a:cubicBezTo>
                    <a:pt x="231" y="222"/>
                    <a:pt x="231" y="222"/>
                    <a:pt x="231" y="222"/>
                  </a:cubicBezTo>
                  <a:cubicBezTo>
                    <a:pt x="233" y="220"/>
                    <a:pt x="233" y="217"/>
                    <a:pt x="231" y="215"/>
                  </a:cubicBezTo>
                  <a:cubicBezTo>
                    <a:pt x="219" y="199"/>
                    <a:pt x="219" y="199"/>
                    <a:pt x="219" y="199"/>
                  </a:cubicBezTo>
                  <a:cubicBezTo>
                    <a:pt x="222" y="196"/>
                    <a:pt x="224" y="192"/>
                    <a:pt x="226" y="188"/>
                  </a:cubicBezTo>
                  <a:cubicBezTo>
                    <a:pt x="246" y="193"/>
                    <a:pt x="246" y="193"/>
                    <a:pt x="246" y="193"/>
                  </a:cubicBezTo>
                  <a:cubicBezTo>
                    <a:pt x="248" y="194"/>
                    <a:pt x="251" y="193"/>
                    <a:pt x="252" y="190"/>
                  </a:cubicBezTo>
                  <a:cubicBezTo>
                    <a:pt x="257" y="178"/>
                    <a:pt x="257" y="178"/>
                    <a:pt x="257" y="178"/>
                  </a:cubicBezTo>
                  <a:cubicBezTo>
                    <a:pt x="258" y="176"/>
                    <a:pt x="257" y="173"/>
                    <a:pt x="255" y="172"/>
                  </a:cubicBezTo>
                  <a:cubicBezTo>
                    <a:pt x="238" y="161"/>
                    <a:pt x="238" y="161"/>
                    <a:pt x="238" y="161"/>
                  </a:cubicBezTo>
                  <a:cubicBezTo>
                    <a:pt x="239" y="157"/>
                    <a:pt x="240" y="152"/>
                    <a:pt x="241" y="148"/>
                  </a:cubicBezTo>
                  <a:cubicBezTo>
                    <a:pt x="260" y="145"/>
                    <a:pt x="260" y="145"/>
                    <a:pt x="260" y="145"/>
                  </a:cubicBezTo>
                  <a:cubicBezTo>
                    <a:pt x="263" y="144"/>
                    <a:pt x="265" y="142"/>
                    <a:pt x="265" y="140"/>
                  </a:cubicBezTo>
                  <a:cubicBezTo>
                    <a:pt x="265" y="126"/>
                    <a:pt x="265" y="126"/>
                    <a:pt x="265" y="126"/>
                  </a:cubicBezTo>
                  <a:cubicBezTo>
                    <a:pt x="265" y="124"/>
                    <a:pt x="263" y="121"/>
                    <a:pt x="260" y="121"/>
                  </a:cubicBezTo>
                  <a:close/>
                  <a:moveTo>
                    <a:pt x="214" y="154"/>
                  </a:moveTo>
                  <a:cubicBezTo>
                    <a:pt x="213" y="159"/>
                    <a:pt x="208" y="161"/>
                    <a:pt x="204" y="15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5"/>
                    <a:pt x="166" y="131"/>
                    <a:pt x="170" y="128"/>
                  </a:cubicBezTo>
                  <a:cubicBezTo>
                    <a:pt x="204" y="108"/>
                    <a:pt x="204" y="108"/>
                    <a:pt x="204" y="108"/>
                  </a:cubicBezTo>
                  <a:cubicBezTo>
                    <a:pt x="208" y="105"/>
                    <a:pt x="213" y="107"/>
                    <a:pt x="214" y="112"/>
                  </a:cubicBezTo>
                  <a:cubicBezTo>
                    <a:pt x="214" y="112"/>
                    <a:pt x="217" y="122"/>
                    <a:pt x="217" y="133"/>
                  </a:cubicBezTo>
                  <a:cubicBezTo>
                    <a:pt x="217" y="143"/>
                    <a:pt x="214" y="154"/>
                    <a:pt x="214" y="154"/>
                  </a:cubicBezTo>
                  <a:close/>
                  <a:moveTo>
                    <a:pt x="205" y="90"/>
                  </a:moveTo>
                  <a:cubicBezTo>
                    <a:pt x="208" y="94"/>
                    <a:pt x="206" y="99"/>
                    <a:pt x="201" y="100"/>
                  </a:cubicBezTo>
                  <a:cubicBezTo>
                    <a:pt x="163" y="109"/>
                    <a:pt x="163" y="109"/>
                    <a:pt x="163" y="109"/>
                  </a:cubicBezTo>
                  <a:cubicBezTo>
                    <a:pt x="158" y="110"/>
                    <a:pt x="155" y="107"/>
                    <a:pt x="156" y="102"/>
                  </a:cubicBezTo>
                  <a:cubicBezTo>
                    <a:pt x="165" y="64"/>
                    <a:pt x="165" y="64"/>
                    <a:pt x="165" y="64"/>
                  </a:cubicBezTo>
                  <a:cubicBezTo>
                    <a:pt x="166" y="59"/>
                    <a:pt x="171" y="57"/>
                    <a:pt x="175" y="60"/>
                  </a:cubicBezTo>
                  <a:cubicBezTo>
                    <a:pt x="175" y="60"/>
                    <a:pt x="185" y="65"/>
                    <a:pt x="192" y="73"/>
                  </a:cubicBezTo>
                  <a:cubicBezTo>
                    <a:pt x="200" y="80"/>
                    <a:pt x="205" y="90"/>
                    <a:pt x="205" y="90"/>
                  </a:cubicBezTo>
                  <a:close/>
                  <a:moveTo>
                    <a:pt x="111" y="50"/>
                  </a:moveTo>
                  <a:cubicBezTo>
                    <a:pt x="111" y="50"/>
                    <a:pt x="122" y="47"/>
                    <a:pt x="132" y="47"/>
                  </a:cubicBezTo>
                  <a:cubicBezTo>
                    <a:pt x="143" y="47"/>
                    <a:pt x="154" y="50"/>
                    <a:pt x="154" y="50"/>
                  </a:cubicBezTo>
                  <a:cubicBezTo>
                    <a:pt x="158" y="52"/>
                    <a:pt x="160" y="56"/>
                    <a:pt x="158" y="60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4" y="98"/>
                    <a:pt x="130" y="98"/>
                    <a:pt x="128" y="94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5" y="56"/>
                    <a:pt x="106" y="52"/>
                    <a:pt x="111" y="50"/>
                  </a:cubicBezTo>
                  <a:close/>
                  <a:moveTo>
                    <a:pt x="153" y="133"/>
                  </a:moveTo>
                  <a:cubicBezTo>
                    <a:pt x="153" y="144"/>
                    <a:pt x="144" y="154"/>
                    <a:pt x="132" y="154"/>
                  </a:cubicBezTo>
                  <a:cubicBezTo>
                    <a:pt x="121" y="154"/>
                    <a:pt x="112" y="144"/>
                    <a:pt x="112" y="133"/>
                  </a:cubicBezTo>
                  <a:cubicBezTo>
                    <a:pt x="112" y="121"/>
                    <a:pt x="121" y="112"/>
                    <a:pt x="132" y="112"/>
                  </a:cubicBezTo>
                  <a:cubicBezTo>
                    <a:pt x="144" y="112"/>
                    <a:pt x="153" y="121"/>
                    <a:pt x="153" y="133"/>
                  </a:cubicBezTo>
                  <a:close/>
                  <a:moveTo>
                    <a:pt x="89" y="59"/>
                  </a:moveTo>
                  <a:cubicBezTo>
                    <a:pt x="94" y="56"/>
                    <a:pt x="98" y="58"/>
                    <a:pt x="99" y="63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9" y="106"/>
                    <a:pt x="107" y="109"/>
                    <a:pt x="102" y="108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59" y="98"/>
                    <a:pt x="57" y="93"/>
                    <a:pt x="59" y="89"/>
                  </a:cubicBezTo>
                  <a:cubicBezTo>
                    <a:pt x="59" y="89"/>
                    <a:pt x="65" y="79"/>
                    <a:pt x="72" y="72"/>
                  </a:cubicBezTo>
                  <a:cubicBezTo>
                    <a:pt x="80" y="64"/>
                    <a:pt x="89" y="59"/>
                    <a:pt x="89" y="59"/>
                  </a:cubicBezTo>
                  <a:close/>
                  <a:moveTo>
                    <a:pt x="50" y="153"/>
                  </a:moveTo>
                  <a:cubicBezTo>
                    <a:pt x="50" y="153"/>
                    <a:pt x="47" y="142"/>
                    <a:pt x="47" y="132"/>
                  </a:cubicBezTo>
                  <a:cubicBezTo>
                    <a:pt x="47" y="121"/>
                    <a:pt x="50" y="110"/>
                    <a:pt x="50" y="110"/>
                  </a:cubicBezTo>
                  <a:cubicBezTo>
                    <a:pt x="51" y="106"/>
                    <a:pt x="56" y="104"/>
                    <a:pt x="60" y="107"/>
                  </a:cubicBezTo>
                  <a:cubicBezTo>
                    <a:pt x="93" y="127"/>
                    <a:pt x="93" y="127"/>
                    <a:pt x="93" y="127"/>
                  </a:cubicBezTo>
                  <a:cubicBezTo>
                    <a:pt x="98" y="130"/>
                    <a:pt x="98" y="134"/>
                    <a:pt x="93" y="136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56" y="160"/>
                    <a:pt x="51" y="158"/>
                    <a:pt x="50" y="153"/>
                  </a:cubicBezTo>
                  <a:close/>
                  <a:moveTo>
                    <a:pt x="58" y="175"/>
                  </a:moveTo>
                  <a:cubicBezTo>
                    <a:pt x="56" y="171"/>
                    <a:pt x="58" y="166"/>
                    <a:pt x="63" y="165"/>
                  </a:cubicBezTo>
                  <a:cubicBezTo>
                    <a:pt x="101" y="156"/>
                    <a:pt x="101" y="156"/>
                    <a:pt x="101" y="156"/>
                  </a:cubicBezTo>
                  <a:cubicBezTo>
                    <a:pt x="106" y="155"/>
                    <a:pt x="109" y="158"/>
                    <a:pt x="108" y="162"/>
                  </a:cubicBezTo>
                  <a:cubicBezTo>
                    <a:pt x="98" y="201"/>
                    <a:pt x="98" y="201"/>
                    <a:pt x="98" y="201"/>
                  </a:cubicBezTo>
                  <a:cubicBezTo>
                    <a:pt x="97" y="206"/>
                    <a:pt x="93" y="207"/>
                    <a:pt x="89" y="205"/>
                  </a:cubicBezTo>
                  <a:cubicBezTo>
                    <a:pt x="89" y="205"/>
                    <a:pt x="79" y="200"/>
                    <a:pt x="71" y="192"/>
                  </a:cubicBezTo>
                  <a:cubicBezTo>
                    <a:pt x="64" y="185"/>
                    <a:pt x="58" y="175"/>
                    <a:pt x="58" y="175"/>
                  </a:cubicBezTo>
                  <a:close/>
                  <a:moveTo>
                    <a:pt x="153" y="214"/>
                  </a:moveTo>
                  <a:cubicBezTo>
                    <a:pt x="153" y="214"/>
                    <a:pt x="142" y="217"/>
                    <a:pt x="131" y="217"/>
                  </a:cubicBezTo>
                  <a:cubicBezTo>
                    <a:pt x="121" y="217"/>
                    <a:pt x="110" y="214"/>
                    <a:pt x="110" y="214"/>
                  </a:cubicBezTo>
                  <a:cubicBezTo>
                    <a:pt x="105" y="213"/>
                    <a:pt x="103" y="209"/>
                    <a:pt x="106" y="204"/>
                  </a:cubicBezTo>
                  <a:cubicBezTo>
                    <a:pt x="127" y="171"/>
                    <a:pt x="127" y="171"/>
                    <a:pt x="127" y="171"/>
                  </a:cubicBezTo>
                  <a:cubicBezTo>
                    <a:pt x="129" y="167"/>
                    <a:pt x="133" y="167"/>
                    <a:pt x="136" y="171"/>
                  </a:cubicBezTo>
                  <a:cubicBezTo>
                    <a:pt x="157" y="204"/>
                    <a:pt x="157" y="204"/>
                    <a:pt x="157" y="204"/>
                  </a:cubicBezTo>
                  <a:cubicBezTo>
                    <a:pt x="159" y="209"/>
                    <a:pt x="157" y="213"/>
                    <a:pt x="153" y="214"/>
                  </a:cubicBezTo>
                  <a:close/>
                  <a:moveTo>
                    <a:pt x="174" y="206"/>
                  </a:moveTo>
                  <a:cubicBezTo>
                    <a:pt x="170" y="208"/>
                    <a:pt x="166" y="206"/>
                    <a:pt x="164" y="202"/>
                  </a:cubicBezTo>
                  <a:cubicBezTo>
                    <a:pt x="155" y="163"/>
                    <a:pt x="155" y="163"/>
                    <a:pt x="155" y="163"/>
                  </a:cubicBezTo>
                  <a:cubicBezTo>
                    <a:pt x="154" y="158"/>
                    <a:pt x="157" y="155"/>
                    <a:pt x="162" y="157"/>
                  </a:cubicBezTo>
                  <a:cubicBezTo>
                    <a:pt x="200" y="166"/>
                    <a:pt x="200" y="166"/>
                    <a:pt x="200" y="166"/>
                  </a:cubicBezTo>
                  <a:cubicBezTo>
                    <a:pt x="205" y="167"/>
                    <a:pt x="207" y="171"/>
                    <a:pt x="205" y="176"/>
                  </a:cubicBezTo>
                  <a:cubicBezTo>
                    <a:pt x="205" y="176"/>
                    <a:pt x="199" y="185"/>
                    <a:pt x="192" y="193"/>
                  </a:cubicBezTo>
                  <a:cubicBezTo>
                    <a:pt x="184" y="200"/>
                    <a:pt x="174" y="206"/>
                    <a:pt x="174" y="20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8"/>
            <p:cNvSpPr>
              <a:spLocks noEditPoints="1"/>
            </p:cNvSpPr>
            <p:nvPr/>
          </p:nvSpPr>
          <p:spPr bwMode="auto">
            <a:xfrm>
              <a:off x="4428717" y="4604526"/>
              <a:ext cx="462372" cy="464744"/>
            </a:xfrm>
            <a:custGeom>
              <a:avLst/>
              <a:gdLst>
                <a:gd name="T0" fmla="*/ 118 w 122"/>
                <a:gd name="T1" fmla="*/ 74 h 122"/>
                <a:gd name="T2" fmla="*/ 102 w 122"/>
                <a:gd name="T3" fmla="*/ 64 h 122"/>
                <a:gd name="T4" fmla="*/ 102 w 122"/>
                <a:gd name="T5" fmla="*/ 64 h 122"/>
                <a:gd name="T6" fmla="*/ 101 w 122"/>
                <a:gd name="T7" fmla="*/ 54 h 122"/>
                <a:gd name="T8" fmla="*/ 101 w 122"/>
                <a:gd name="T9" fmla="*/ 53 h 122"/>
                <a:gd name="T10" fmla="*/ 116 w 122"/>
                <a:gd name="T11" fmla="*/ 41 h 122"/>
                <a:gd name="T12" fmla="*/ 118 w 122"/>
                <a:gd name="T13" fmla="*/ 34 h 122"/>
                <a:gd name="T14" fmla="*/ 111 w 122"/>
                <a:gd name="T15" fmla="*/ 30 h 122"/>
                <a:gd name="T16" fmla="*/ 92 w 122"/>
                <a:gd name="T17" fmla="*/ 34 h 122"/>
                <a:gd name="T18" fmla="*/ 92 w 122"/>
                <a:gd name="T19" fmla="*/ 35 h 122"/>
                <a:gd name="T20" fmla="*/ 84 w 122"/>
                <a:gd name="T21" fmla="*/ 28 h 122"/>
                <a:gd name="T22" fmla="*/ 84 w 122"/>
                <a:gd name="T23" fmla="*/ 27 h 122"/>
                <a:gd name="T24" fmla="*/ 86 w 122"/>
                <a:gd name="T25" fmla="*/ 8 h 122"/>
                <a:gd name="T26" fmla="*/ 82 w 122"/>
                <a:gd name="T27" fmla="*/ 1 h 122"/>
                <a:gd name="T28" fmla="*/ 74 w 122"/>
                <a:gd name="T29" fmla="*/ 4 h 122"/>
                <a:gd name="T30" fmla="*/ 64 w 122"/>
                <a:gd name="T31" fmla="*/ 20 h 122"/>
                <a:gd name="T32" fmla="*/ 64 w 122"/>
                <a:gd name="T33" fmla="*/ 21 h 122"/>
                <a:gd name="T34" fmla="*/ 53 w 122"/>
                <a:gd name="T35" fmla="*/ 21 h 122"/>
                <a:gd name="T36" fmla="*/ 53 w 122"/>
                <a:gd name="T37" fmla="*/ 21 h 122"/>
                <a:gd name="T38" fmla="*/ 41 w 122"/>
                <a:gd name="T39" fmla="*/ 6 h 122"/>
                <a:gd name="T40" fmla="*/ 33 w 122"/>
                <a:gd name="T41" fmla="*/ 4 h 122"/>
                <a:gd name="T42" fmla="*/ 30 w 122"/>
                <a:gd name="T43" fmla="*/ 12 h 122"/>
                <a:gd name="T44" fmla="*/ 34 w 122"/>
                <a:gd name="T45" fmla="*/ 30 h 122"/>
                <a:gd name="T46" fmla="*/ 34 w 122"/>
                <a:gd name="T47" fmla="*/ 30 h 122"/>
                <a:gd name="T48" fmla="*/ 27 w 122"/>
                <a:gd name="T49" fmla="*/ 38 h 122"/>
                <a:gd name="T50" fmla="*/ 27 w 122"/>
                <a:gd name="T51" fmla="*/ 38 h 122"/>
                <a:gd name="T52" fmla="*/ 8 w 122"/>
                <a:gd name="T53" fmla="*/ 36 h 122"/>
                <a:gd name="T54" fmla="*/ 1 w 122"/>
                <a:gd name="T55" fmla="*/ 40 h 122"/>
                <a:gd name="T56" fmla="*/ 4 w 122"/>
                <a:gd name="T57" fmla="*/ 48 h 122"/>
                <a:gd name="T58" fmla="*/ 20 w 122"/>
                <a:gd name="T59" fmla="*/ 58 h 122"/>
                <a:gd name="T60" fmla="*/ 21 w 122"/>
                <a:gd name="T61" fmla="*/ 69 h 122"/>
                <a:gd name="T62" fmla="*/ 6 w 122"/>
                <a:gd name="T63" fmla="*/ 81 h 122"/>
                <a:gd name="T64" fmla="*/ 4 w 122"/>
                <a:gd name="T65" fmla="*/ 89 h 122"/>
                <a:gd name="T66" fmla="*/ 11 w 122"/>
                <a:gd name="T67" fmla="*/ 92 h 122"/>
                <a:gd name="T68" fmla="*/ 30 w 122"/>
                <a:gd name="T69" fmla="*/ 88 h 122"/>
                <a:gd name="T70" fmla="*/ 38 w 122"/>
                <a:gd name="T71" fmla="*/ 96 h 122"/>
                <a:gd name="T72" fmla="*/ 36 w 122"/>
                <a:gd name="T73" fmla="*/ 114 h 122"/>
                <a:gd name="T74" fmla="*/ 40 w 122"/>
                <a:gd name="T75" fmla="*/ 121 h 122"/>
                <a:gd name="T76" fmla="*/ 48 w 122"/>
                <a:gd name="T77" fmla="*/ 118 h 122"/>
                <a:gd name="T78" fmla="*/ 58 w 122"/>
                <a:gd name="T79" fmla="*/ 102 h 122"/>
                <a:gd name="T80" fmla="*/ 69 w 122"/>
                <a:gd name="T81" fmla="*/ 102 h 122"/>
                <a:gd name="T82" fmla="*/ 81 w 122"/>
                <a:gd name="T83" fmla="*/ 116 h 122"/>
                <a:gd name="T84" fmla="*/ 89 w 122"/>
                <a:gd name="T85" fmla="*/ 118 h 122"/>
                <a:gd name="T86" fmla="*/ 92 w 122"/>
                <a:gd name="T87" fmla="*/ 111 h 122"/>
                <a:gd name="T88" fmla="*/ 88 w 122"/>
                <a:gd name="T89" fmla="*/ 92 h 122"/>
                <a:gd name="T90" fmla="*/ 95 w 122"/>
                <a:gd name="T91" fmla="*/ 84 h 122"/>
                <a:gd name="T92" fmla="*/ 114 w 122"/>
                <a:gd name="T93" fmla="*/ 86 h 122"/>
                <a:gd name="T94" fmla="*/ 121 w 122"/>
                <a:gd name="T95" fmla="*/ 82 h 122"/>
                <a:gd name="T96" fmla="*/ 118 w 122"/>
                <a:gd name="T97" fmla="*/ 74 h 122"/>
                <a:gd name="T98" fmla="*/ 52 w 122"/>
                <a:gd name="T99" fmla="*/ 86 h 122"/>
                <a:gd name="T100" fmla="*/ 36 w 122"/>
                <a:gd name="T101" fmla="*/ 53 h 122"/>
                <a:gd name="T102" fmla="*/ 69 w 122"/>
                <a:gd name="T103" fmla="*/ 37 h 122"/>
                <a:gd name="T104" fmla="*/ 86 w 122"/>
                <a:gd name="T105" fmla="*/ 70 h 122"/>
                <a:gd name="T106" fmla="*/ 52 w 122"/>
                <a:gd name="T107" fmla="*/ 86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2" h="122">
                  <a:moveTo>
                    <a:pt x="118" y="74"/>
                  </a:moveTo>
                  <a:cubicBezTo>
                    <a:pt x="102" y="64"/>
                    <a:pt x="102" y="64"/>
                    <a:pt x="102" y="64"/>
                  </a:cubicBezTo>
                  <a:cubicBezTo>
                    <a:pt x="102" y="64"/>
                    <a:pt x="102" y="64"/>
                    <a:pt x="102" y="64"/>
                  </a:cubicBezTo>
                  <a:cubicBezTo>
                    <a:pt x="102" y="61"/>
                    <a:pt x="102" y="57"/>
                    <a:pt x="101" y="54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8" y="40"/>
                    <a:pt x="119" y="36"/>
                    <a:pt x="118" y="34"/>
                  </a:cubicBezTo>
                  <a:cubicBezTo>
                    <a:pt x="117" y="31"/>
                    <a:pt x="113" y="29"/>
                    <a:pt x="111" y="3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5"/>
                    <a:pt x="92" y="35"/>
                  </a:cubicBezTo>
                  <a:cubicBezTo>
                    <a:pt x="89" y="32"/>
                    <a:pt x="87" y="30"/>
                    <a:pt x="84" y="28"/>
                  </a:cubicBezTo>
                  <a:cubicBezTo>
                    <a:pt x="84" y="28"/>
                    <a:pt x="84" y="27"/>
                    <a:pt x="84" y="27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6" y="5"/>
                    <a:pt x="84" y="2"/>
                    <a:pt x="82" y="1"/>
                  </a:cubicBezTo>
                  <a:cubicBezTo>
                    <a:pt x="79" y="0"/>
                    <a:pt x="76" y="2"/>
                    <a:pt x="74" y="4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0" y="21"/>
                    <a:pt x="57" y="21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0" y="4"/>
                    <a:pt x="36" y="3"/>
                    <a:pt x="33" y="4"/>
                  </a:cubicBezTo>
                  <a:cubicBezTo>
                    <a:pt x="31" y="6"/>
                    <a:pt x="29" y="9"/>
                    <a:pt x="30" y="12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2" y="33"/>
                    <a:pt x="29" y="35"/>
                    <a:pt x="27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5" y="36"/>
                    <a:pt x="2" y="38"/>
                    <a:pt x="1" y="40"/>
                  </a:cubicBezTo>
                  <a:cubicBezTo>
                    <a:pt x="0" y="43"/>
                    <a:pt x="2" y="47"/>
                    <a:pt x="4" y="4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6"/>
                    <a:pt x="21" y="69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4" y="83"/>
                    <a:pt x="3" y="86"/>
                    <a:pt x="4" y="89"/>
                  </a:cubicBezTo>
                  <a:cubicBezTo>
                    <a:pt x="5" y="91"/>
                    <a:pt x="9" y="93"/>
                    <a:pt x="11" y="92"/>
                  </a:cubicBezTo>
                  <a:cubicBezTo>
                    <a:pt x="30" y="88"/>
                    <a:pt x="30" y="88"/>
                    <a:pt x="30" y="88"/>
                  </a:cubicBezTo>
                  <a:cubicBezTo>
                    <a:pt x="32" y="91"/>
                    <a:pt x="35" y="93"/>
                    <a:pt x="38" y="96"/>
                  </a:cubicBezTo>
                  <a:cubicBezTo>
                    <a:pt x="36" y="114"/>
                    <a:pt x="36" y="114"/>
                    <a:pt x="36" y="114"/>
                  </a:cubicBezTo>
                  <a:cubicBezTo>
                    <a:pt x="36" y="117"/>
                    <a:pt x="38" y="120"/>
                    <a:pt x="40" y="121"/>
                  </a:cubicBezTo>
                  <a:cubicBezTo>
                    <a:pt x="43" y="122"/>
                    <a:pt x="46" y="121"/>
                    <a:pt x="48" y="118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103"/>
                    <a:pt x="65" y="102"/>
                    <a:pt x="69" y="102"/>
                  </a:cubicBezTo>
                  <a:cubicBezTo>
                    <a:pt x="81" y="116"/>
                    <a:pt x="81" y="116"/>
                    <a:pt x="81" y="116"/>
                  </a:cubicBezTo>
                  <a:cubicBezTo>
                    <a:pt x="83" y="118"/>
                    <a:pt x="86" y="119"/>
                    <a:pt x="89" y="118"/>
                  </a:cubicBezTo>
                  <a:cubicBezTo>
                    <a:pt x="91" y="117"/>
                    <a:pt x="93" y="113"/>
                    <a:pt x="92" y="111"/>
                  </a:cubicBezTo>
                  <a:cubicBezTo>
                    <a:pt x="88" y="92"/>
                    <a:pt x="88" y="92"/>
                    <a:pt x="88" y="92"/>
                  </a:cubicBezTo>
                  <a:cubicBezTo>
                    <a:pt x="91" y="90"/>
                    <a:pt x="93" y="87"/>
                    <a:pt x="95" y="84"/>
                  </a:cubicBezTo>
                  <a:cubicBezTo>
                    <a:pt x="114" y="86"/>
                    <a:pt x="114" y="86"/>
                    <a:pt x="114" y="86"/>
                  </a:cubicBezTo>
                  <a:cubicBezTo>
                    <a:pt x="117" y="86"/>
                    <a:pt x="120" y="85"/>
                    <a:pt x="121" y="82"/>
                  </a:cubicBezTo>
                  <a:cubicBezTo>
                    <a:pt x="122" y="79"/>
                    <a:pt x="120" y="76"/>
                    <a:pt x="118" y="74"/>
                  </a:cubicBezTo>
                  <a:close/>
                  <a:moveTo>
                    <a:pt x="52" y="86"/>
                  </a:moveTo>
                  <a:cubicBezTo>
                    <a:pt x="39" y="82"/>
                    <a:pt x="31" y="67"/>
                    <a:pt x="36" y="53"/>
                  </a:cubicBezTo>
                  <a:cubicBezTo>
                    <a:pt x="41" y="39"/>
                    <a:pt x="56" y="32"/>
                    <a:pt x="69" y="37"/>
                  </a:cubicBezTo>
                  <a:cubicBezTo>
                    <a:pt x="83" y="41"/>
                    <a:pt x="90" y="56"/>
                    <a:pt x="86" y="70"/>
                  </a:cubicBezTo>
                  <a:cubicBezTo>
                    <a:pt x="81" y="84"/>
                    <a:pt x="66" y="91"/>
                    <a:pt x="52" y="86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4789131" y="4103030"/>
              <a:ext cx="754022" cy="771806"/>
              <a:chOff x="4789131" y="4103030"/>
              <a:chExt cx="754022" cy="771806"/>
            </a:xfrm>
            <a:solidFill>
              <a:schemeClr val="accent3"/>
            </a:solidFill>
          </p:grpSpPr>
          <p:sp>
            <p:nvSpPr>
              <p:cNvPr id="17" name="Freeform 16"/>
              <p:cNvSpPr>
                <a:spLocks noEditPoints="1"/>
              </p:cNvSpPr>
              <p:nvPr/>
            </p:nvSpPr>
            <p:spPr bwMode="auto">
              <a:xfrm>
                <a:off x="4853151" y="4177721"/>
                <a:ext cx="628353" cy="633094"/>
              </a:xfrm>
              <a:custGeom>
                <a:avLst/>
                <a:gdLst>
                  <a:gd name="T0" fmla="*/ 77 w 166"/>
                  <a:gd name="T1" fmla="*/ 3 h 166"/>
                  <a:gd name="T2" fmla="*/ 2 w 166"/>
                  <a:gd name="T3" fmla="*/ 88 h 166"/>
                  <a:gd name="T4" fmla="*/ 88 w 166"/>
                  <a:gd name="T5" fmla="*/ 163 h 166"/>
                  <a:gd name="T6" fmla="*/ 163 w 166"/>
                  <a:gd name="T7" fmla="*/ 78 h 166"/>
                  <a:gd name="T8" fmla="*/ 77 w 166"/>
                  <a:gd name="T9" fmla="*/ 3 h 166"/>
                  <a:gd name="T10" fmla="*/ 85 w 166"/>
                  <a:gd name="T11" fmla="*/ 121 h 166"/>
                  <a:gd name="T12" fmla="*/ 45 w 166"/>
                  <a:gd name="T13" fmla="*/ 86 h 166"/>
                  <a:gd name="T14" fmla="*/ 80 w 166"/>
                  <a:gd name="T15" fmla="*/ 45 h 166"/>
                  <a:gd name="T16" fmla="*/ 121 w 166"/>
                  <a:gd name="T17" fmla="*/ 81 h 166"/>
                  <a:gd name="T18" fmla="*/ 85 w 166"/>
                  <a:gd name="T19" fmla="*/ 121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6" h="166">
                    <a:moveTo>
                      <a:pt x="77" y="3"/>
                    </a:moveTo>
                    <a:cubicBezTo>
                      <a:pt x="33" y="6"/>
                      <a:pt x="0" y="44"/>
                      <a:pt x="2" y="88"/>
                    </a:cubicBezTo>
                    <a:cubicBezTo>
                      <a:pt x="5" y="133"/>
                      <a:pt x="44" y="166"/>
                      <a:pt x="88" y="163"/>
                    </a:cubicBezTo>
                    <a:cubicBezTo>
                      <a:pt x="132" y="160"/>
                      <a:pt x="166" y="122"/>
                      <a:pt x="163" y="78"/>
                    </a:cubicBezTo>
                    <a:cubicBezTo>
                      <a:pt x="160" y="34"/>
                      <a:pt x="122" y="0"/>
                      <a:pt x="77" y="3"/>
                    </a:cubicBezTo>
                    <a:close/>
                    <a:moveTo>
                      <a:pt x="85" y="121"/>
                    </a:moveTo>
                    <a:cubicBezTo>
                      <a:pt x="64" y="122"/>
                      <a:pt x="46" y="106"/>
                      <a:pt x="45" y="86"/>
                    </a:cubicBezTo>
                    <a:cubicBezTo>
                      <a:pt x="43" y="65"/>
                      <a:pt x="59" y="46"/>
                      <a:pt x="80" y="45"/>
                    </a:cubicBezTo>
                    <a:cubicBezTo>
                      <a:pt x="101" y="44"/>
                      <a:pt x="119" y="60"/>
                      <a:pt x="121" y="81"/>
                    </a:cubicBezTo>
                    <a:cubicBezTo>
                      <a:pt x="122" y="101"/>
                      <a:pt x="106" y="120"/>
                      <a:pt x="85" y="1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8"/>
              <p:cNvSpPr>
                <a:spLocks/>
              </p:cNvSpPr>
              <p:nvPr/>
            </p:nvSpPr>
            <p:spPr bwMode="auto">
              <a:xfrm>
                <a:off x="5125833" y="4687517"/>
                <a:ext cx="106701" cy="187319"/>
              </a:xfrm>
              <a:custGeom>
                <a:avLst/>
                <a:gdLst>
                  <a:gd name="T0" fmla="*/ 1 w 28"/>
                  <a:gd name="T1" fmla="*/ 9 h 49"/>
                  <a:gd name="T2" fmla="*/ 7 w 28"/>
                  <a:gd name="T3" fmla="*/ 1 h 49"/>
                  <a:gd name="T4" fmla="*/ 21 w 28"/>
                  <a:gd name="T5" fmla="*/ 0 h 49"/>
                  <a:gd name="T6" fmla="*/ 28 w 28"/>
                  <a:gd name="T7" fmla="*/ 7 h 49"/>
                  <a:gd name="T8" fmla="*/ 26 w 28"/>
                  <a:gd name="T9" fmla="*/ 40 h 49"/>
                  <a:gd name="T10" fmla="*/ 18 w 28"/>
                  <a:gd name="T11" fmla="*/ 48 h 49"/>
                  <a:gd name="T12" fmla="*/ 16 w 28"/>
                  <a:gd name="T13" fmla="*/ 48 h 49"/>
                  <a:gd name="T14" fmla="*/ 8 w 28"/>
                  <a:gd name="T15" fmla="*/ 42 h 49"/>
                  <a:gd name="T16" fmla="*/ 1 w 28"/>
                  <a:gd name="T17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49">
                    <a:moveTo>
                      <a:pt x="1" y="9"/>
                    </a:moveTo>
                    <a:cubicBezTo>
                      <a:pt x="0" y="5"/>
                      <a:pt x="3" y="1"/>
                      <a:pt x="7" y="1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5" y="0"/>
                      <a:pt x="28" y="3"/>
                      <a:pt x="28" y="7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5" y="44"/>
                      <a:pt x="22" y="48"/>
                      <a:pt x="18" y="48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2" y="49"/>
                      <a:pt x="8" y="46"/>
                      <a:pt x="8" y="42"/>
                    </a:cubicBezTo>
                    <a:lnTo>
                      <a:pt x="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9"/>
              <p:cNvSpPr>
                <a:spLocks/>
              </p:cNvSpPr>
              <p:nvPr/>
            </p:nvSpPr>
            <p:spPr bwMode="auto">
              <a:xfrm>
                <a:off x="4789131" y="4452773"/>
                <a:ext cx="184949" cy="109073"/>
              </a:xfrm>
              <a:custGeom>
                <a:avLst/>
                <a:gdLst>
                  <a:gd name="T0" fmla="*/ 40 w 49"/>
                  <a:gd name="T1" fmla="*/ 1 h 29"/>
                  <a:gd name="T2" fmla="*/ 47 w 49"/>
                  <a:gd name="T3" fmla="*/ 7 h 29"/>
                  <a:gd name="T4" fmla="*/ 48 w 49"/>
                  <a:gd name="T5" fmla="*/ 22 h 29"/>
                  <a:gd name="T6" fmla="*/ 42 w 49"/>
                  <a:gd name="T7" fmla="*/ 29 h 29"/>
                  <a:gd name="T8" fmla="*/ 8 w 49"/>
                  <a:gd name="T9" fmla="*/ 26 h 29"/>
                  <a:gd name="T10" fmla="*/ 0 w 49"/>
                  <a:gd name="T11" fmla="*/ 18 h 29"/>
                  <a:gd name="T12" fmla="*/ 0 w 49"/>
                  <a:gd name="T13" fmla="*/ 17 h 29"/>
                  <a:gd name="T14" fmla="*/ 7 w 49"/>
                  <a:gd name="T15" fmla="*/ 8 h 29"/>
                  <a:gd name="T16" fmla="*/ 40 w 49"/>
                  <a:gd name="T17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29">
                    <a:moveTo>
                      <a:pt x="40" y="1"/>
                    </a:moveTo>
                    <a:cubicBezTo>
                      <a:pt x="44" y="0"/>
                      <a:pt x="47" y="3"/>
                      <a:pt x="47" y="7"/>
                    </a:cubicBezTo>
                    <a:cubicBezTo>
                      <a:pt x="48" y="22"/>
                      <a:pt x="48" y="22"/>
                      <a:pt x="48" y="22"/>
                    </a:cubicBezTo>
                    <a:cubicBezTo>
                      <a:pt x="49" y="26"/>
                      <a:pt x="46" y="29"/>
                      <a:pt x="42" y="29"/>
                    </a:cubicBezTo>
                    <a:cubicBezTo>
                      <a:pt x="8" y="26"/>
                      <a:pt x="8" y="26"/>
                      <a:pt x="8" y="26"/>
                    </a:cubicBezTo>
                    <a:cubicBezTo>
                      <a:pt x="4" y="26"/>
                      <a:pt x="1" y="22"/>
                      <a:pt x="0" y="18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3"/>
                      <a:pt x="3" y="9"/>
                      <a:pt x="7" y="8"/>
                    </a:cubicBezTo>
                    <a:lnTo>
                      <a:pt x="4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0"/>
              <p:cNvSpPr>
                <a:spLocks/>
              </p:cNvSpPr>
              <p:nvPr/>
            </p:nvSpPr>
            <p:spPr bwMode="auto">
              <a:xfrm>
                <a:off x="5355833" y="4424319"/>
                <a:ext cx="187320" cy="111443"/>
              </a:xfrm>
              <a:custGeom>
                <a:avLst/>
                <a:gdLst>
                  <a:gd name="T0" fmla="*/ 9 w 49"/>
                  <a:gd name="T1" fmla="*/ 28 h 29"/>
                  <a:gd name="T2" fmla="*/ 2 w 49"/>
                  <a:gd name="T3" fmla="*/ 22 h 29"/>
                  <a:gd name="T4" fmla="*/ 1 w 49"/>
                  <a:gd name="T5" fmla="*/ 7 h 29"/>
                  <a:gd name="T6" fmla="*/ 8 w 49"/>
                  <a:gd name="T7" fmla="*/ 0 h 29"/>
                  <a:gd name="T8" fmla="*/ 41 w 49"/>
                  <a:gd name="T9" fmla="*/ 3 h 29"/>
                  <a:gd name="T10" fmla="*/ 49 w 49"/>
                  <a:gd name="T11" fmla="*/ 11 h 29"/>
                  <a:gd name="T12" fmla="*/ 49 w 49"/>
                  <a:gd name="T13" fmla="*/ 12 h 29"/>
                  <a:gd name="T14" fmla="*/ 42 w 49"/>
                  <a:gd name="T15" fmla="*/ 21 h 29"/>
                  <a:gd name="T16" fmla="*/ 9 w 49"/>
                  <a:gd name="T17" fmla="*/ 2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29">
                    <a:moveTo>
                      <a:pt x="9" y="28"/>
                    </a:moveTo>
                    <a:cubicBezTo>
                      <a:pt x="5" y="29"/>
                      <a:pt x="2" y="26"/>
                      <a:pt x="2" y="2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3"/>
                      <a:pt x="4" y="0"/>
                      <a:pt x="8" y="0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5" y="3"/>
                      <a:pt x="49" y="7"/>
                      <a:pt x="49" y="11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49" y="16"/>
                      <a:pt x="46" y="20"/>
                      <a:pt x="42" y="21"/>
                    </a:cubicBezTo>
                    <a:lnTo>
                      <a:pt x="9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1"/>
              <p:cNvSpPr>
                <a:spLocks/>
              </p:cNvSpPr>
              <p:nvPr/>
            </p:nvSpPr>
            <p:spPr bwMode="auto">
              <a:xfrm>
                <a:off x="4872120" y="4227515"/>
                <a:ext cx="173093" cy="170722"/>
              </a:xfrm>
              <a:custGeom>
                <a:avLst/>
                <a:gdLst>
                  <a:gd name="T0" fmla="*/ 42 w 46"/>
                  <a:gd name="T1" fmla="*/ 21 h 45"/>
                  <a:gd name="T2" fmla="*/ 44 w 46"/>
                  <a:gd name="T3" fmla="*/ 30 h 45"/>
                  <a:gd name="T4" fmla="*/ 34 w 46"/>
                  <a:gd name="T5" fmla="*/ 41 h 45"/>
                  <a:gd name="T6" fmla="*/ 24 w 46"/>
                  <a:gd name="T7" fmla="*/ 41 h 45"/>
                  <a:gd name="T8" fmla="*/ 2 w 46"/>
                  <a:gd name="T9" fmla="*/ 16 h 45"/>
                  <a:gd name="T10" fmla="*/ 2 w 46"/>
                  <a:gd name="T11" fmla="*/ 5 h 45"/>
                  <a:gd name="T12" fmla="*/ 3 w 46"/>
                  <a:gd name="T13" fmla="*/ 4 h 45"/>
                  <a:gd name="T14" fmla="*/ 14 w 46"/>
                  <a:gd name="T15" fmla="*/ 2 h 45"/>
                  <a:gd name="T16" fmla="*/ 42 w 46"/>
                  <a:gd name="T17" fmla="*/ 2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45">
                    <a:moveTo>
                      <a:pt x="42" y="21"/>
                    </a:moveTo>
                    <a:cubicBezTo>
                      <a:pt x="46" y="23"/>
                      <a:pt x="46" y="27"/>
                      <a:pt x="44" y="30"/>
                    </a:cubicBezTo>
                    <a:cubicBezTo>
                      <a:pt x="34" y="41"/>
                      <a:pt x="34" y="41"/>
                      <a:pt x="34" y="41"/>
                    </a:cubicBezTo>
                    <a:cubicBezTo>
                      <a:pt x="31" y="45"/>
                      <a:pt x="27" y="45"/>
                      <a:pt x="24" y="41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0" y="13"/>
                      <a:pt x="0" y="8"/>
                      <a:pt x="2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6" y="1"/>
                      <a:pt x="11" y="0"/>
                      <a:pt x="14" y="2"/>
                    </a:cubicBezTo>
                    <a:lnTo>
                      <a:pt x="42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2"/>
              <p:cNvSpPr>
                <a:spLocks/>
              </p:cNvSpPr>
              <p:nvPr/>
            </p:nvSpPr>
            <p:spPr bwMode="auto">
              <a:xfrm>
                <a:off x="5284699" y="4592671"/>
                <a:ext cx="177835" cy="168350"/>
              </a:xfrm>
              <a:custGeom>
                <a:avLst/>
                <a:gdLst>
                  <a:gd name="T0" fmla="*/ 4 w 47"/>
                  <a:gd name="T1" fmla="*/ 23 h 44"/>
                  <a:gd name="T2" fmla="*/ 3 w 47"/>
                  <a:gd name="T3" fmla="*/ 14 h 44"/>
                  <a:gd name="T4" fmla="*/ 12 w 47"/>
                  <a:gd name="T5" fmla="*/ 3 h 44"/>
                  <a:gd name="T6" fmla="*/ 22 w 47"/>
                  <a:gd name="T7" fmla="*/ 3 h 44"/>
                  <a:gd name="T8" fmla="*/ 44 w 47"/>
                  <a:gd name="T9" fmla="*/ 28 h 44"/>
                  <a:gd name="T10" fmla="*/ 44 w 47"/>
                  <a:gd name="T11" fmla="*/ 39 h 44"/>
                  <a:gd name="T12" fmla="*/ 43 w 47"/>
                  <a:gd name="T13" fmla="*/ 40 h 44"/>
                  <a:gd name="T14" fmla="*/ 32 w 47"/>
                  <a:gd name="T15" fmla="*/ 42 h 44"/>
                  <a:gd name="T16" fmla="*/ 4 w 47"/>
                  <a:gd name="T17" fmla="*/ 2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44">
                    <a:moveTo>
                      <a:pt x="4" y="23"/>
                    </a:moveTo>
                    <a:cubicBezTo>
                      <a:pt x="1" y="21"/>
                      <a:pt x="0" y="17"/>
                      <a:pt x="3" y="1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5" y="0"/>
                      <a:pt x="19" y="0"/>
                      <a:pt x="22" y="3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7" y="31"/>
                      <a:pt x="46" y="36"/>
                      <a:pt x="44" y="3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0" y="43"/>
                      <a:pt x="35" y="44"/>
                      <a:pt x="32" y="42"/>
                    </a:cubicBezTo>
                    <a:lnTo>
                      <a:pt x="4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3"/>
              <p:cNvSpPr>
                <a:spLocks/>
              </p:cNvSpPr>
              <p:nvPr/>
            </p:nvSpPr>
            <p:spPr bwMode="auto">
              <a:xfrm>
                <a:off x="4902945" y="4611640"/>
                <a:ext cx="165980" cy="180207"/>
              </a:xfrm>
              <a:custGeom>
                <a:avLst/>
                <a:gdLst>
                  <a:gd name="T0" fmla="*/ 20 w 44"/>
                  <a:gd name="T1" fmla="*/ 4 h 47"/>
                  <a:gd name="T2" fmla="*/ 30 w 44"/>
                  <a:gd name="T3" fmla="*/ 3 h 47"/>
                  <a:gd name="T4" fmla="*/ 41 w 44"/>
                  <a:gd name="T5" fmla="*/ 13 h 47"/>
                  <a:gd name="T6" fmla="*/ 41 w 44"/>
                  <a:gd name="T7" fmla="*/ 23 h 47"/>
                  <a:gd name="T8" fmla="*/ 16 w 44"/>
                  <a:gd name="T9" fmla="*/ 44 h 47"/>
                  <a:gd name="T10" fmla="*/ 5 w 44"/>
                  <a:gd name="T11" fmla="*/ 44 h 47"/>
                  <a:gd name="T12" fmla="*/ 4 w 44"/>
                  <a:gd name="T13" fmla="*/ 43 h 47"/>
                  <a:gd name="T14" fmla="*/ 2 w 44"/>
                  <a:gd name="T15" fmla="*/ 32 h 47"/>
                  <a:gd name="T16" fmla="*/ 20 w 44"/>
                  <a:gd name="T17" fmla="*/ 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7">
                    <a:moveTo>
                      <a:pt x="20" y="4"/>
                    </a:moveTo>
                    <a:cubicBezTo>
                      <a:pt x="23" y="1"/>
                      <a:pt x="27" y="0"/>
                      <a:pt x="30" y="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4" y="16"/>
                      <a:pt x="44" y="20"/>
                      <a:pt x="41" y="23"/>
                    </a:cubicBezTo>
                    <a:cubicBezTo>
                      <a:pt x="16" y="44"/>
                      <a:pt x="16" y="44"/>
                      <a:pt x="16" y="44"/>
                    </a:cubicBezTo>
                    <a:cubicBezTo>
                      <a:pt x="13" y="47"/>
                      <a:pt x="8" y="47"/>
                      <a:pt x="5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0" y="41"/>
                      <a:pt x="0" y="36"/>
                      <a:pt x="2" y="32"/>
                    </a:cubicBezTo>
                    <a:lnTo>
                      <a:pt x="2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24"/>
              <p:cNvSpPr>
                <a:spLocks/>
              </p:cNvSpPr>
              <p:nvPr/>
            </p:nvSpPr>
            <p:spPr bwMode="auto">
              <a:xfrm>
                <a:off x="5260988" y="4196690"/>
                <a:ext cx="168351" cy="177835"/>
              </a:xfrm>
              <a:custGeom>
                <a:avLst/>
                <a:gdLst>
                  <a:gd name="T0" fmla="*/ 24 w 44"/>
                  <a:gd name="T1" fmla="*/ 43 h 47"/>
                  <a:gd name="T2" fmla="*/ 14 w 44"/>
                  <a:gd name="T3" fmla="*/ 44 h 47"/>
                  <a:gd name="T4" fmla="*/ 3 w 44"/>
                  <a:gd name="T5" fmla="*/ 34 h 47"/>
                  <a:gd name="T6" fmla="*/ 3 w 44"/>
                  <a:gd name="T7" fmla="*/ 25 h 47"/>
                  <a:gd name="T8" fmla="*/ 28 w 44"/>
                  <a:gd name="T9" fmla="*/ 3 h 47"/>
                  <a:gd name="T10" fmla="*/ 40 w 44"/>
                  <a:gd name="T11" fmla="*/ 3 h 47"/>
                  <a:gd name="T12" fmla="*/ 41 w 44"/>
                  <a:gd name="T13" fmla="*/ 4 h 47"/>
                  <a:gd name="T14" fmla="*/ 42 w 44"/>
                  <a:gd name="T15" fmla="*/ 15 h 47"/>
                  <a:gd name="T16" fmla="*/ 24 w 44"/>
                  <a:gd name="T17" fmla="*/ 4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7">
                    <a:moveTo>
                      <a:pt x="24" y="43"/>
                    </a:moveTo>
                    <a:cubicBezTo>
                      <a:pt x="22" y="46"/>
                      <a:pt x="17" y="47"/>
                      <a:pt x="14" y="44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0" y="32"/>
                      <a:pt x="0" y="27"/>
                      <a:pt x="3" y="25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32" y="0"/>
                      <a:pt x="37" y="0"/>
                      <a:pt x="40" y="3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44" y="6"/>
                      <a:pt x="44" y="11"/>
                      <a:pt x="42" y="15"/>
                    </a:cubicBezTo>
                    <a:lnTo>
                      <a:pt x="24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5"/>
              <p:cNvSpPr>
                <a:spLocks/>
              </p:cNvSpPr>
              <p:nvPr/>
            </p:nvSpPr>
            <p:spPr bwMode="auto">
              <a:xfrm>
                <a:off x="4974080" y="4146896"/>
                <a:ext cx="147011" cy="189691"/>
              </a:xfrm>
              <a:custGeom>
                <a:avLst/>
                <a:gdLst>
                  <a:gd name="T0" fmla="*/ 36 w 39"/>
                  <a:gd name="T1" fmla="*/ 32 h 50"/>
                  <a:gd name="T2" fmla="*/ 34 w 39"/>
                  <a:gd name="T3" fmla="*/ 41 h 50"/>
                  <a:gd name="T4" fmla="*/ 21 w 39"/>
                  <a:gd name="T5" fmla="*/ 48 h 50"/>
                  <a:gd name="T6" fmla="*/ 12 w 39"/>
                  <a:gd name="T7" fmla="*/ 44 h 50"/>
                  <a:gd name="T8" fmla="*/ 1 w 39"/>
                  <a:gd name="T9" fmla="*/ 13 h 50"/>
                  <a:gd name="T10" fmla="*/ 5 w 39"/>
                  <a:gd name="T11" fmla="*/ 3 h 50"/>
                  <a:gd name="T12" fmla="*/ 6 w 39"/>
                  <a:gd name="T13" fmla="*/ 2 h 50"/>
                  <a:gd name="T14" fmla="*/ 17 w 39"/>
                  <a:gd name="T15" fmla="*/ 5 h 50"/>
                  <a:gd name="T16" fmla="*/ 36 w 39"/>
                  <a:gd name="T17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" h="50">
                    <a:moveTo>
                      <a:pt x="36" y="32"/>
                    </a:moveTo>
                    <a:cubicBezTo>
                      <a:pt x="39" y="35"/>
                      <a:pt x="38" y="40"/>
                      <a:pt x="34" y="41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17" y="50"/>
                      <a:pt x="13" y="48"/>
                      <a:pt x="12" y="44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9"/>
                      <a:pt x="2" y="4"/>
                      <a:pt x="5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10" y="0"/>
                      <a:pt x="15" y="1"/>
                      <a:pt x="17" y="5"/>
                    </a:cubicBezTo>
                    <a:lnTo>
                      <a:pt x="36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6"/>
              <p:cNvSpPr>
                <a:spLocks/>
              </p:cNvSpPr>
              <p:nvPr/>
            </p:nvSpPr>
            <p:spPr bwMode="auto">
              <a:xfrm>
                <a:off x="5213565" y="4649579"/>
                <a:ext cx="142269" cy="192062"/>
              </a:xfrm>
              <a:custGeom>
                <a:avLst/>
                <a:gdLst>
                  <a:gd name="T0" fmla="*/ 2 w 38"/>
                  <a:gd name="T1" fmla="*/ 18 h 50"/>
                  <a:gd name="T2" fmla="*/ 4 w 38"/>
                  <a:gd name="T3" fmla="*/ 9 h 50"/>
                  <a:gd name="T4" fmla="*/ 17 w 38"/>
                  <a:gd name="T5" fmla="*/ 2 h 50"/>
                  <a:gd name="T6" fmla="*/ 26 w 38"/>
                  <a:gd name="T7" fmla="*/ 6 h 50"/>
                  <a:gd name="T8" fmla="*/ 37 w 38"/>
                  <a:gd name="T9" fmla="*/ 37 h 50"/>
                  <a:gd name="T10" fmla="*/ 33 w 38"/>
                  <a:gd name="T11" fmla="*/ 48 h 50"/>
                  <a:gd name="T12" fmla="*/ 32 w 38"/>
                  <a:gd name="T13" fmla="*/ 48 h 50"/>
                  <a:gd name="T14" fmla="*/ 21 w 38"/>
                  <a:gd name="T15" fmla="*/ 45 h 50"/>
                  <a:gd name="T16" fmla="*/ 2 w 38"/>
                  <a:gd name="T17" fmla="*/ 1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50">
                    <a:moveTo>
                      <a:pt x="2" y="18"/>
                    </a:moveTo>
                    <a:cubicBezTo>
                      <a:pt x="0" y="15"/>
                      <a:pt x="1" y="10"/>
                      <a:pt x="4" y="9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21" y="0"/>
                      <a:pt x="25" y="2"/>
                      <a:pt x="26" y="6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41"/>
                      <a:pt x="37" y="46"/>
                      <a:pt x="33" y="48"/>
                    </a:cubicBezTo>
                    <a:cubicBezTo>
                      <a:pt x="32" y="48"/>
                      <a:pt x="32" y="48"/>
                      <a:pt x="32" y="48"/>
                    </a:cubicBezTo>
                    <a:cubicBezTo>
                      <a:pt x="28" y="50"/>
                      <a:pt x="23" y="49"/>
                      <a:pt x="21" y="45"/>
                    </a:cubicBezTo>
                    <a:lnTo>
                      <a:pt x="2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7"/>
              <p:cNvSpPr>
                <a:spLocks/>
              </p:cNvSpPr>
              <p:nvPr/>
            </p:nvSpPr>
            <p:spPr bwMode="auto">
              <a:xfrm>
                <a:off x="4822327" y="4540506"/>
                <a:ext cx="184949" cy="147011"/>
              </a:xfrm>
              <a:custGeom>
                <a:avLst/>
                <a:gdLst>
                  <a:gd name="T0" fmla="*/ 32 w 49"/>
                  <a:gd name="T1" fmla="*/ 2 h 39"/>
                  <a:gd name="T2" fmla="*/ 41 w 49"/>
                  <a:gd name="T3" fmla="*/ 5 h 39"/>
                  <a:gd name="T4" fmla="*/ 48 w 49"/>
                  <a:gd name="T5" fmla="*/ 18 h 39"/>
                  <a:gd name="T6" fmla="*/ 44 w 49"/>
                  <a:gd name="T7" fmla="*/ 27 h 39"/>
                  <a:gd name="T8" fmla="*/ 12 w 49"/>
                  <a:gd name="T9" fmla="*/ 38 h 39"/>
                  <a:gd name="T10" fmla="*/ 2 w 49"/>
                  <a:gd name="T11" fmla="*/ 33 h 39"/>
                  <a:gd name="T12" fmla="*/ 1 w 49"/>
                  <a:gd name="T13" fmla="*/ 32 h 39"/>
                  <a:gd name="T14" fmla="*/ 4 w 49"/>
                  <a:gd name="T15" fmla="*/ 21 h 39"/>
                  <a:gd name="T16" fmla="*/ 32 w 49"/>
                  <a:gd name="T17" fmla="*/ 2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39">
                    <a:moveTo>
                      <a:pt x="32" y="2"/>
                    </a:moveTo>
                    <a:cubicBezTo>
                      <a:pt x="35" y="0"/>
                      <a:pt x="39" y="1"/>
                      <a:pt x="41" y="5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9" y="22"/>
                      <a:pt x="48" y="26"/>
                      <a:pt x="44" y="27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8" y="39"/>
                      <a:pt x="4" y="37"/>
                      <a:pt x="2" y="3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29"/>
                      <a:pt x="1" y="24"/>
                      <a:pt x="4" y="21"/>
                    </a:cubicBezTo>
                    <a:lnTo>
                      <a:pt x="3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8"/>
              <p:cNvSpPr>
                <a:spLocks/>
              </p:cNvSpPr>
              <p:nvPr/>
            </p:nvSpPr>
            <p:spPr bwMode="auto">
              <a:xfrm>
                <a:off x="5322637" y="4298650"/>
                <a:ext cx="189692" cy="149381"/>
              </a:xfrm>
              <a:custGeom>
                <a:avLst/>
                <a:gdLst>
                  <a:gd name="T0" fmla="*/ 17 w 50"/>
                  <a:gd name="T1" fmla="*/ 37 h 39"/>
                  <a:gd name="T2" fmla="*/ 8 w 50"/>
                  <a:gd name="T3" fmla="*/ 34 h 39"/>
                  <a:gd name="T4" fmla="*/ 1 w 50"/>
                  <a:gd name="T5" fmla="*/ 21 h 39"/>
                  <a:gd name="T6" fmla="*/ 5 w 50"/>
                  <a:gd name="T7" fmla="*/ 12 h 39"/>
                  <a:gd name="T8" fmla="*/ 37 w 50"/>
                  <a:gd name="T9" fmla="*/ 1 h 39"/>
                  <a:gd name="T10" fmla="*/ 47 w 50"/>
                  <a:gd name="T11" fmla="*/ 6 h 39"/>
                  <a:gd name="T12" fmla="*/ 48 w 50"/>
                  <a:gd name="T13" fmla="*/ 7 h 39"/>
                  <a:gd name="T14" fmla="*/ 45 w 50"/>
                  <a:gd name="T15" fmla="*/ 18 h 39"/>
                  <a:gd name="T16" fmla="*/ 17 w 50"/>
                  <a:gd name="T17" fmla="*/ 3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39">
                    <a:moveTo>
                      <a:pt x="17" y="37"/>
                    </a:moveTo>
                    <a:cubicBezTo>
                      <a:pt x="14" y="39"/>
                      <a:pt x="10" y="38"/>
                      <a:pt x="8" y="3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18"/>
                      <a:pt x="1" y="14"/>
                      <a:pt x="5" y="12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41" y="0"/>
                      <a:pt x="45" y="2"/>
                      <a:pt x="47" y="6"/>
                    </a:cubicBezTo>
                    <a:cubicBezTo>
                      <a:pt x="48" y="7"/>
                      <a:pt x="48" y="7"/>
                      <a:pt x="48" y="7"/>
                    </a:cubicBezTo>
                    <a:cubicBezTo>
                      <a:pt x="50" y="11"/>
                      <a:pt x="48" y="15"/>
                      <a:pt x="45" y="18"/>
                    </a:cubicBezTo>
                    <a:lnTo>
                      <a:pt x="17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9"/>
              <p:cNvSpPr>
                <a:spLocks/>
              </p:cNvSpPr>
              <p:nvPr/>
            </p:nvSpPr>
            <p:spPr bwMode="auto">
              <a:xfrm>
                <a:off x="4803357" y="4348443"/>
                <a:ext cx="189692" cy="130412"/>
              </a:xfrm>
              <a:custGeom>
                <a:avLst/>
                <a:gdLst>
                  <a:gd name="T0" fmla="*/ 44 w 50"/>
                  <a:gd name="T1" fmla="*/ 6 h 34"/>
                  <a:gd name="T2" fmla="*/ 49 w 50"/>
                  <a:gd name="T3" fmla="*/ 15 h 34"/>
                  <a:gd name="T4" fmla="*/ 44 w 50"/>
                  <a:gd name="T5" fmla="*/ 29 h 34"/>
                  <a:gd name="T6" fmla="*/ 35 w 50"/>
                  <a:gd name="T7" fmla="*/ 33 h 34"/>
                  <a:gd name="T8" fmla="*/ 5 w 50"/>
                  <a:gd name="T9" fmla="*/ 18 h 34"/>
                  <a:gd name="T10" fmla="*/ 1 w 50"/>
                  <a:gd name="T11" fmla="*/ 8 h 34"/>
                  <a:gd name="T12" fmla="*/ 1 w 50"/>
                  <a:gd name="T13" fmla="*/ 6 h 34"/>
                  <a:gd name="T14" fmla="*/ 11 w 50"/>
                  <a:gd name="T15" fmla="*/ 1 h 34"/>
                  <a:gd name="T16" fmla="*/ 44 w 50"/>
                  <a:gd name="T17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34">
                    <a:moveTo>
                      <a:pt x="44" y="6"/>
                    </a:moveTo>
                    <a:cubicBezTo>
                      <a:pt x="48" y="7"/>
                      <a:pt x="50" y="11"/>
                      <a:pt x="49" y="15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3" y="33"/>
                      <a:pt x="39" y="34"/>
                      <a:pt x="35" y="33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2" y="16"/>
                      <a:pt x="0" y="11"/>
                      <a:pt x="1" y="8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3" y="2"/>
                      <a:pt x="7" y="0"/>
                      <a:pt x="11" y="1"/>
                    </a:cubicBezTo>
                    <a:lnTo>
                      <a:pt x="44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30"/>
              <p:cNvSpPr>
                <a:spLocks/>
              </p:cNvSpPr>
              <p:nvPr/>
            </p:nvSpPr>
            <p:spPr bwMode="auto">
              <a:xfrm>
                <a:off x="5336864" y="4509680"/>
                <a:ext cx="194434" cy="128042"/>
              </a:xfrm>
              <a:custGeom>
                <a:avLst/>
                <a:gdLst>
                  <a:gd name="T0" fmla="*/ 6 w 51"/>
                  <a:gd name="T1" fmla="*/ 28 h 34"/>
                  <a:gd name="T2" fmla="*/ 1 w 51"/>
                  <a:gd name="T3" fmla="*/ 19 h 34"/>
                  <a:gd name="T4" fmla="*/ 6 w 51"/>
                  <a:gd name="T5" fmla="*/ 5 h 34"/>
                  <a:gd name="T6" fmla="*/ 15 w 51"/>
                  <a:gd name="T7" fmla="*/ 2 h 34"/>
                  <a:gd name="T8" fmla="*/ 45 w 51"/>
                  <a:gd name="T9" fmla="*/ 16 h 34"/>
                  <a:gd name="T10" fmla="*/ 49 w 51"/>
                  <a:gd name="T11" fmla="*/ 27 h 34"/>
                  <a:gd name="T12" fmla="*/ 49 w 51"/>
                  <a:gd name="T13" fmla="*/ 28 h 34"/>
                  <a:gd name="T14" fmla="*/ 39 w 51"/>
                  <a:gd name="T15" fmla="*/ 34 h 34"/>
                  <a:gd name="T16" fmla="*/ 6 w 51"/>
                  <a:gd name="T17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34">
                    <a:moveTo>
                      <a:pt x="6" y="28"/>
                    </a:moveTo>
                    <a:cubicBezTo>
                      <a:pt x="2" y="27"/>
                      <a:pt x="0" y="23"/>
                      <a:pt x="1" y="19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1"/>
                      <a:pt x="11" y="0"/>
                      <a:pt x="15" y="2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9" y="18"/>
                      <a:pt x="51" y="23"/>
                      <a:pt x="49" y="27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8" y="32"/>
                      <a:pt x="43" y="34"/>
                      <a:pt x="39" y="34"/>
                    </a:cubicBezTo>
                    <a:lnTo>
                      <a:pt x="6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1"/>
              <p:cNvSpPr>
                <a:spLocks/>
              </p:cNvSpPr>
              <p:nvPr/>
            </p:nvSpPr>
            <p:spPr bwMode="auto">
              <a:xfrm>
                <a:off x="5019131" y="4668548"/>
                <a:ext cx="132784" cy="192062"/>
              </a:xfrm>
              <a:custGeom>
                <a:avLst/>
                <a:gdLst>
                  <a:gd name="T0" fmla="*/ 7 w 35"/>
                  <a:gd name="T1" fmla="*/ 6 h 50"/>
                  <a:gd name="T2" fmla="*/ 15 w 35"/>
                  <a:gd name="T3" fmla="*/ 1 h 50"/>
                  <a:gd name="T4" fmla="*/ 29 w 35"/>
                  <a:gd name="T5" fmla="*/ 6 h 50"/>
                  <a:gd name="T6" fmla="*/ 33 w 35"/>
                  <a:gd name="T7" fmla="*/ 14 h 50"/>
                  <a:gd name="T8" fmla="*/ 18 w 35"/>
                  <a:gd name="T9" fmla="*/ 44 h 50"/>
                  <a:gd name="T10" fmla="*/ 8 w 35"/>
                  <a:gd name="T11" fmla="*/ 49 h 50"/>
                  <a:gd name="T12" fmla="*/ 7 w 35"/>
                  <a:gd name="T13" fmla="*/ 48 h 50"/>
                  <a:gd name="T14" fmla="*/ 1 w 35"/>
                  <a:gd name="T15" fmla="*/ 39 h 50"/>
                  <a:gd name="T16" fmla="*/ 7 w 35"/>
                  <a:gd name="T17" fmla="*/ 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50">
                    <a:moveTo>
                      <a:pt x="7" y="6"/>
                    </a:moveTo>
                    <a:cubicBezTo>
                      <a:pt x="8" y="2"/>
                      <a:pt x="11" y="0"/>
                      <a:pt x="15" y="1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33" y="7"/>
                      <a:pt x="35" y="11"/>
                      <a:pt x="33" y="14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6" y="48"/>
                      <a:pt x="12" y="50"/>
                      <a:pt x="8" y="49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3" y="47"/>
                      <a:pt x="0" y="43"/>
                      <a:pt x="1" y="39"/>
                    </a:cubicBezTo>
                    <a:lnTo>
                      <a:pt x="7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2"/>
              <p:cNvSpPr>
                <a:spLocks/>
              </p:cNvSpPr>
              <p:nvPr/>
            </p:nvSpPr>
            <p:spPr bwMode="auto">
              <a:xfrm>
                <a:off x="5177998" y="4127927"/>
                <a:ext cx="132784" cy="189691"/>
              </a:xfrm>
              <a:custGeom>
                <a:avLst/>
                <a:gdLst>
                  <a:gd name="T0" fmla="*/ 28 w 35"/>
                  <a:gd name="T1" fmla="*/ 44 h 50"/>
                  <a:gd name="T2" fmla="*/ 20 w 35"/>
                  <a:gd name="T3" fmla="*/ 49 h 50"/>
                  <a:gd name="T4" fmla="*/ 6 w 35"/>
                  <a:gd name="T5" fmla="*/ 45 h 50"/>
                  <a:gd name="T6" fmla="*/ 2 w 35"/>
                  <a:gd name="T7" fmla="*/ 36 h 50"/>
                  <a:gd name="T8" fmla="*/ 17 w 35"/>
                  <a:gd name="T9" fmla="*/ 6 h 50"/>
                  <a:gd name="T10" fmla="*/ 27 w 35"/>
                  <a:gd name="T11" fmla="*/ 1 h 50"/>
                  <a:gd name="T12" fmla="*/ 28 w 35"/>
                  <a:gd name="T13" fmla="*/ 2 h 50"/>
                  <a:gd name="T14" fmla="*/ 34 w 35"/>
                  <a:gd name="T15" fmla="*/ 11 h 50"/>
                  <a:gd name="T16" fmla="*/ 28 w 35"/>
                  <a:gd name="T17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50">
                    <a:moveTo>
                      <a:pt x="28" y="44"/>
                    </a:moveTo>
                    <a:cubicBezTo>
                      <a:pt x="27" y="48"/>
                      <a:pt x="24" y="50"/>
                      <a:pt x="20" y="49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2" y="43"/>
                      <a:pt x="0" y="39"/>
                      <a:pt x="2" y="36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9" y="2"/>
                      <a:pt x="23" y="0"/>
                      <a:pt x="27" y="1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32" y="3"/>
                      <a:pt x="35" y="7"/>
                      <a:pt x="34" y="11"/>
                    </a:cubicBezTo>
                    <a:lnTo>
                      <a:pt x="28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18"/>
              <p:cNvSpPr>
                <a:spLocks/>
              </p:cNvSpPr>
              <p:nvPr/>
            </p:nvSpPr>
            <p:spPr bwMode="auto">
              <a:xfrm rot="10800000">
                <a:off x="5093821" y="4103030"/>
                <a:ext cx="106701" cy="187319"/>
              </a:xfrm>
              <a:custGeom>
                <a:avLst/>
                <a:gdLst>
                  <a:gd name="T0" fmla="*/ 1 w 28"/>
                  <a:gd name="T1" fmla="*/ 9 h 49"/>
                  <a:gd name="T2" fmla="*/ 7 w 28"/>
                  <a:gd name="T3" fmla="*/ 1 h 49"/>
                  <a:gd name="T4" fmla="*/ 21 w 28"/>
                  <a:gd name="T5" fmla="*/ 0 h 49"/>
                  <a:gd name="T6" fmla="*/ 28 w 28"/>
                  <a:gd name="T7" fmla="*/ 7 h 49"/>
                  <a:gd name="T8" fmla="*/ 26 w 28"/>
                  <a:gd name="T9" fmla="*/ 40 h 49"/>
                  <a:gd name="T10" fmla="*/ 18 w 28"/>
                  <a:gd name="T11" fmla="*/ 48 h 49"/>
                  <a:gd name="T12" fmla="*/ 16 w 28"/>
                  <a:gd name="T13" fmla="*/ 48 h 49"/>
                  <a:gd name="T14" fmla="*/ 8 w 28"/>
                  <a:gd name="T15" fmla="*/ 42 h 49"/>
                  <a:gd name="T16" fmla="*/ 1 w 28"/>
                  <a:gd name="T17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49">
                    <a:moveTo>
                      <a:pt x="1" y="9"/>
                    </a:moveTo>
                    <a:cubicBezTo>
                      <a:pt x="0" y="5"/>
                      <a:pt x="3" y="1"/>
                      <a:pt x="7" y="1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5" y="0"/>
                      <a:pt x="28" y="3"/>
                      <a:pt x="28" y="7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5" y="44"/>
                      <a:pt x="22" y="48"/>
                      <a:pt x="18" y="48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2" y="49"/>
                      <a:pt x="8" y="46"/>
                      <a:pt x="8" y="42"/>
                    </a:cubicBezTo>
                    <a:lnTo>
                      <a:pt x="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4" name="Group 4"/>
          <p:cNvGrpSpPr>
            <a:grpSpLocks noChangeAspect="1"/>
          </p:cNvGrpSpPr>
          <p:nvPr/>
        </p:nvGrpSpPr>
        <p:grpSpPr bwMode="auto">
          <a:xfrm>
            <a:off x="6654149" y="2035901"/>
            <a:ext cx="1579162" cy="1078567"/>
            <a:chOff x="2270" y="2544"/>
            <a:chExt cx="1347" cy="920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35" name="Freeform 5"/>
            <p:cNvSpPr>
              <a:spLocks/>
            </p:cNvSpPr>
            <p:nvPr/>
          </p:nvSpPr>
          <p:spPr bwMode="auto">
            <a:xfrm>
              <a:off x="2341" y="2623"/>
              <a:ext cx="1195" cy="665"/>
            </a:xfrm>
            <a:custGeom>
              <a:avLst/>
              <a:gdLst>
                <a:gd name="T0" fmla="*/ 1025 w 1219"/>
                <a:gd name="T1" fmla="*/ 176 h 678"/>
                <a:gd name="T2" fmla="*/ 1011 w 1219"/>
                <a:gd name="T3" fmla="*/ 168 h 678"/>
                <a:gd name="T4" fmla="*/ 1006 w 1219"/>
                <a:gd name="T5" fmla="*/ 166 h 678"/>
                <a:gd name="T6" fmla="*/ 992 w 1219"/>
                <a:gd name="T7" fmla="*/ 159 h 678"/>
                <a:gd name="T8" fmla="*/ 0 w 1219"/>
                <a:gd name="T9" fmla="*/ 323 h 678"/>
                <a:gd name="T10" fmla="*/ 356 w 1219"/>
                <a:gd name="T11" fmla="*/ 678 h 678"/>
                <a:gd name="T12" fmla="*/ 681 w 1219"/>
                <a:gd name="T13" fmla="*/ 579 h 678"/>
                <a:gd name="T14" fmla="*/ 735 w 1219"/>
                <a:gd name="T15" fmla="*/ 595 h 678"/>
                <a:gd name="T16" fmla="*/ 757 w 1219"/>
                <a:gd name="T17" fmla="*/ 605 h 678"/>
                <a:gd name="T18" fmla="*/ 863 w 1219"/>
                <a:gd name="T19" fmla="*/ 678 h 678"/>
                <a:gd name="T20" fmla="*/ 1219 w 1219"/>
                <a:gd name="T21" fmla="*/ 323 h 678"/>
                <a:gd name="T22" fmla="*/ 1025 w 1219"/>
                <a:gd name="T23" fmla="*/ 17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19" h="678">
                  <a:moveTo>
                    <a:pt x="1025" y="176"/>
                  </a:moveTo>
                  <a:cubicBezTo>
                    <a:pt x="1020" y="173"/>
                    <a:pt x="1015" y="171"/>
                    <a:pt x="1011" y="168"/>
                  </a:cubicBezTo>
                  <a:cubicBezTo>
                    <a:pt x="1008" y="168"/>
                    <a:pt x="1006" y="166"/>
                    <a:pt x="1006" y="166"/>
                  </a:cubicBezTo>
                  <a:cubicBezTo>
                    <a:pt x="1001" y="164"/>
                    <a:pt x="996" y="161"/>
                    <a:pt x="992" y="159"/>
                  </a:cubicBezTo>
                  <a:cubicBezTo>
                    <a:pt x="669" y="0"/>
                    <a:pt x="268" y="55"/>
                    <a:pt x="0" y="323"/>
                  </a:cubicBezTo>
                  <a:cubicBezTo>
                    <a:pt x="356" y="678"/>
                    <a:pt x="356" y="678"/>
                    <a:pt x="356" y="678"/>
                  </a:cubicBezTo>
                  <a:cubicBezTo>
                    <a:pt x="443" y="588"/>
                    <a:pt x="567" y="557"/>
                    <a:pt x="681" y="579"/>
                  </a:cubicBezTo>
                  <a:cubicBezTo>
                    <a:pt x="700" y="583"/>
                    <a:pt x="716" y="588"/>
                    <a:pt x="735" y="595"/>
                  </a:cubicBezTo>
                  <a:cubicBezTo>
                    <a:pt x="742" y="598"/>
                    <a:pt x="750" y="600"/>
                    <a:pt x="757" y="605"/>
                  </a:cubicBezTo>
                  <a:cubicBezTo>
                    <a:pt x="795" y="621"/>
                    <a:pt x="833" y="645"/>
                    <a:pt x="863" y="678"/>
                  </a:cubicBezTo>
                  <a:cubicBezTo>
                    <a:pt x="1219" y="323"/>
                    <a:pt x="1219" y="323"/>
                    <a:pt x="1219" y="323"/>
                  </a:cubicBezTo>
                  <a:cubicBezTo>
                    <a:pt x="1160" y="263"/>
                    <a:pt x="1094" y="214"/>
                    <a:pt x="1025" y="176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2270" y="2794"/>
              <a:ext cx="85" cy="92"/>
            </a:xfrm>
            <a:custGeom>
              <a:avLst/>
              <a:gdLst>
                <a:gd name="T0" fmla="*/ 0 w 85"/>
                <a:gd name="T1" fmla="*/ 9 h 92"/>
                <a:gd name="T2" fmla="*/ 75 w 85"/>
                <a:gd name="T3" fmla="*/ 92 h 92"/>
                <a:gd name="T4" fmla="*/ 85 w 85"/>
                <a:gd name="T5" fmla="*/ 82 h 92"/>
                <a:gd name="T6" fmla="*/ 11 w 85"/>
                <a:gd name="T7" fmla="*/ 0 h 92"/>
                <a:gd name="T8" fmla="*/ 0 w 85"/>
                <a:gd name="T9" fmla="*/ 9 h 92"/>
                <a:gd name="T10" fmla="*/ 0 w 85"/>
                <a:gd name="T11" fmla="*/ 9 h 92"/>
                <a:gd name="T12" fmla="*/ 0 w 85"/>
                <a:gd name="T13" fmla="*/ 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92">
                  <a:moveTo>
                    <a:pt x="0" y="9"/>
                  </a:moveTo>
                  <a:lnTo>
                    <a:pt x="75" y="92"/>
                  </a:lnTo>
                  <a:lnTo>
                    <a:pt x="85" y="82"/>
                  </a:lnTo>
                  <a:lnTo>
                    <a:pt x="11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/>
            <p:cNvSpPr>
              <a:spLocks/>
            </p:cNvSpPr>
            <p:nvPr/>
          </p:nvSpPr>
          <p:spPr bwMode="auto">
            <a:xfrm>
              <a:off x="2467" y="2656"/>
              <a:ext cx="68" cy="105"/>
            </a:xfrm>
            <a:custGeom>
              <a:avLst/>
              <a:gdLst>
                <a:gd name="T0" fmla="*/ 0 w 68"/>
                <a:gd name="T1" fmla="*/ 6 h 105"/>
                <a:gd name="T2" fmla="*/ 54 w 68"/>
                <a:gd name="T3" fmla="*/ 105 h 105"/>
                <a:gd name="T4" fmla="*/ 68 w 68"/>
                <a:gd name="T5" fmla="*/ 98 h 105"/>
                <a:gd name="T6" fmla="*/ 14 w 68"/>
                <a:gd name="T7" fmla="*/ 0 h 105"/>
                <a:gd name="T8" fmla="*/ 0 w 68"/>
                <a:gd name="T9" fmla="*/ 6 h 105"/>
                <a:gd name="T10" fmla="*/ 0 w 68"/>
                <a:gd name="T11" fmla="*/ 6 h 105"/>
                <a:gd name="T12" fmla="*/ 0 w 68"/>
                <a:gd name="T13" fmla="*/ 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05">
                  <a:moveTo>
                    <a:pt x="0" y="6"/>
                  </a:moveTo>
                  <a:lnTo>
                    <a:pt x="54" y="105"/>
                  </a:lnTo>
                  <a:lnTo>
                    <a:pt x="68" y="98"/>
                  </a:lnTo>
                  <a:lnTo>
                    <a:pt x="14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2695" y="2572"/>
              <a:ext cx="41" cy="112"/>
            </a:xfrm>
            <a:custGeom>
              <a:avLst/>
              <a:gdLst>
                <a:gd name="T0" fmla="*/ 0 w 41"/>
                <a:gd name="T1" fmla="*/ 2 h 112"/>
                <a:gd name="T2" fmla="*/ 29 w 41"/>
                <a:gd name="T3" fmla="*/ 112 h 112"/>
                <a:gd name="T4" fmla="*/ 41 w 41"/>
                <a:gd name="T5" fmla="*/ 107 h 112"/>
                <a:gd name="T6" fmla="*/ 15 w 41"/>
                <a:gd name="T7" fmla="*/ 0 h 112"/>
                <a:gd name="T8" fmla="*/ 0 w 41"/>
                <a:gd name="T9" fmla="*/ 2 h 112"/>
                <a:gd name="T10" fmla="*/ 0 w 41"/>
                <a:gd name="T11" fmla="*/ 2 h 112"/>
                <a:gd name="T12" fmla="*/ 0 w 41"/>
                <a:gd name="T13" fmla="*/ 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12">
                  <a:moveTo>
                    <a:pt x="0" y="2"/>
                  </a:moveTo>
                  <a:lnTo>
                    <a:pt x="29" y="112"/>
                  </a:lnTo>
                  <a:lnTo>
                    <a:pt x="41" y="107"/>
                  </a:lnTo>
                  <a:lnTo>
                    <a:pt x="15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2937" y="2544"/>
              <a:ext cx="16" cy="112"/>
            </a:xfrm>
            <a:custGeom>
              <a:avLst/>
              <a:gdLst>
                <a:gd name="T0" fmla="*/ 0 w 16"/>
                <a:gd name="T1" fmla="*/ 112 h 112"/>
                <a:gd name="T2" fmla="*/ 16 w 16"/>
                <a:gd name="T3" fmla="*/ 112 h 112"/>
                <a:gd name="T4" fmla="*/ 16 w 16"/>
                <a:gd name="T5" fmla="*/ 0 h 112"/>
                <a:gd name="T6" fmla="*/ 2 w 16"/>
                <a:gd name="T7" fmla="*/ 0 h 112"/>
                <a:gd name="T8" fmla="*/ 0 w 16"/>
                <a:gd name="T9" fmla="*/ 112 h 112"/>
                <a:gd name="T10" fmla="*/ 0 w 16"/>
                <a:gd name="T11" fmla="*/ 112 h 112"/>
                <a:gd name="T12" fmla="*/ 0 w 16"/>
                <a:gd name="T1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12">
                  <a:moveTo>
                    <a:pt x="0" y="112"/>
                  </a:moveTo>
                  <a:lnTo>
                    <a:pt x="16" y="112"/>
                  </a:lnTo>
                  <a:lnTo>
                    <a:pt x="16" y="0"/>
                  </a:lnTo>
                  <a:lnTo>
                    <a:pt x="2" y="0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/>
            <p:cNvSpPr>
              <a:spLocks/>
            </p:cNvSpPr>
            <p:nvPr/>
          </p:nvSpPr>
          <p:spPr bwMode="auto">
            <a:xfrm>
              <a:off x="3152" y="2574"/>
              <a:ext cx="42" cy="112"/>
            </a:xfrm>
            <a:custGeom>
              <a:avLst/>
              <a:gdLst>
                <a:gd name="T0" fmla="*/ 0 w 42"/>
                <a:gd name="T1" fmla="*/ 110 h 112"/>
                <a:gd name="T2" fmla="*/ 13 w 42"/>
                <a:gd name="T3" fmla="*/ 112 h 112"/>
                <a:gd name="T4" fmla="*/ 42 w 42"/>
                <a:gd name="T5" fmla="*/ 5 h 112"/>
                <a:gd name="T6" fmla="*/ 28 w 42"/>
                <a:gd name="T7" fmla="*/ 0 h 112"/>
                <a:gd name="T8" fmla="*/ 0 w 42"/>
                <a:gd name="T9" fmla="*/ 110 h 112"/>
                <a:gd name="T10" fmla="*/ 0 w 42"/>
                <a:gd name="T11" fmla="*/ 110 h 112"/>
                <a:gd name="T12" fmla="*/ 0 w 42"/>
                <a:gd name="T13" fmla="*/ 11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12">
                  <a:moveTo>
                    <a:pt x="0" y="110"/>
                  </a:moveTo>
                  <a:lnTo>
                    <a:pt x="13" y="112"/>
                  </a:lnTo>
                  <a:lnTo>
                    <a:pt x="42" y="5"/>
                  </a:lnTo>
                  <a:lnTo>
                    <a:pt x="28" y="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/>
            <p:cNvSpPr>
              <a:spLocks/>
            </p:cNvSpPr>
            <p:nvPr/>
          </p:nvSpPr>
          <p:spPr bwMode="auto">
            <a:xfrm>
              <a:off x="3352" y="2662"/>
              <a:ext cx="68" cy="105"/>
            </a:xfrm>
            <a:custGeom>
              <a:avLst/>
              <a:gdLst>
                <a:gd name="T0" fmla="*/ 56 w 68"/>
                <a:gd name="T1" fmla="*/ 0 h 105"/>
                <a:gd name="T2" fmla="*/ 0 w 68"/>
                <a:gd name="T3" fmla="*/ 99 h 105"/>
                <a:gd name="T4" fmla="*/ 14 w 68"/>
                <a:gd name="T5" fmla="*/ 105 h 105"/>
                <a:gd name="T6" fmla="*/ 68 w 68"/>
                <a:gd name="T7" fmla="*/ 8 h 105"/>
                <a:gd name="T8" fmla="*/ 56 w 68"/>
                <a:gd name="T9" fmla="*/ 0 h 105"/>
                <a:gd name="T10" fmla="*/ 56 w 68"/>
                <a:gd name="T11" fmla="*/ 0 h 105"/>
                <a:gd name="T12" fmla="*/ 56 w 68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05">
                  <a:moveTo>
                    <a:pt x="56" y="0"/>
                  </a:moveTo>
                  <a:lnTo>
                    <a:pt x="0" y="99"/>
                  </a:lnTo>
                  <a:lnTo>
                    <a:pt x="14" y="105"/>
                  </a:lnTo>
                  <a:lnTo>
                    <a:pt x="68" y="8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"/>
            <p:cNvSpPr>
              <a:spLocks/>
            </p:cNvSpPr>
            <p:nvPr/>
          </p:nvSpPr>
          <p:spPr bwMode="auto">
            <a:xfrm>
              <a:off x="2349" y="2737"/>
              <a:ext cx="59" cy="73"/>
            </a:xfrm>
            <a:custGeom>
              <a:avLst/>
              <a:gdLst>
                <a:gd name="T0" fmla="*/ 0 w 59"/>
                <a:gd name="T1" fmla="*/ 11 h 73"/>
                <a:gd name="T2" fmla="*/ 46 w 59"/>
                <a:gd name="T3" fmla="*/ 73 h 73"/>
                <a:gd name="T4" fmla="*/ 59 w 59"/>
                <a:gd name="T5" fmla="*/ 63 h 73"/>
                <a:gd name="T6" fmla="*/ 13 w 59"/>
                <a:gd name="T7" fmla="*/ 0 h 73"/>
                <a:gd name="T8" fmla="*/ 0 w 59"/>
                <a:gd name="T9" fmla="*/ 11 h 73"/>
                <a:gd name="T10" fmla="*/ 0 w 59"/>
                <a:gd name="T11" fmla="*/ 11 h 73"/>
                <a:gd name="T12" fmla="*/ 0 w 59"/>
                <a:gd name="T13" fmla="*/ 1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73">
                  <a:moveTo>
                    <a:pt x="0" y="11"/>
                  </a:moveTo>
                  <a:lnTo>
                    <a:pt x="46" y="73"/>
                  </a:lnTo>
                  <a:lnTo>
                    <a:pt x="59" y="63"/>
                  </a:lnTo>
                  <a:lnTo>
                    <a:pt x="13" y="0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"/>
            <p:cNvSpPr>
              <a:spLocks/>
            </p:cNvSpPr>
            <p:nvPr/>
          </p:nvSpPr>
          <p:spPr bwMode="auto">
            <a:xfrm>
              <a:off x="2311" y="2767"/>
              <a:ext cx="64" cy="70"/>
            </a:xfrm>
            <a:custGeom>
              <a:avLst/>
              <a:gdLst>
                <a:gd name="T0" fmla="*/ 0 w 64"/>
                <a:gd name="T1" fmla="*/ 10 h 70"/>
                <a:gd name="T2" fmla="*/ 50 w 64"/>
                <a:gd name="T3" fmla="*/ 70 h 70"/>
                <a:gd name="T4" fmla="*/ 64 w 64"/>
                <a:gd name="T5" fmla="*/ 62 h 70"/>
                <a:gd name="T6" fmla="*/ 12 w 64"/>
                <a:gd name="T7" fmla="*/ 0 h 70"/>
                <a:gd name="T8" fmla="*/ 0 w 64"/>
                <a:gd name="T9" fmla="*/ 10 h 70"/>
                <a:gd name="T10" fmla="*/ 0 w 64"/>
                <a:gd name="T11" fmla="*/ 10 h 70"/>
                <a:gd name="T12" fmla="*/ 0 w 64"/>
                <a:gd name="T13" fmla="*/ 1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0">
                  <a:moveTo>
                    <a:pt x="0" y="10"/>
                  </a:moveTo>
                  <a:lnTo>
                    <a:pt x="50" y="70"/>
                  </a:lnTo>
                  <a:lnTo>
                    <a:pt x="64" y="62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4"/>
            <p:cNvSpPr>
              <a:spLocks/>
            </p:cNvSpPr>
            <p:nvPr/>
          </p:nvSpPr>
          <p:spPr bwMode="auto">
            <a:xfrm>
              <a:off x="2388" y="2712"/>
              <a:ext cx="57" cy="71"/>
            </a:xfrm>
            <a:custGeom>
              <a:avLst/>
              <a:gdLst>
                <a:gd name="T0" fmla="*/ 0 w 57"/>
                <a:gd name="T1" fmla="*/ 8 h 71"/>
                <a:gd name="T2" fmla="*/ 44 w 57"/>
                <a:gd name="T3" fmla="*/ 71 h 71"/>
                <a:gd name="T4" fmla="*/ 57 w 57"/>
                <a:gd name="T5" fmla="*/ 62 h 71"/>
                <a:gd name="T6" fmla="*/ 14 w 57"/>
                <a:gd name="T7" fmla="*/ 0 h 71"/>
                <a:gd name="T8" fmla="*/ 0 w 57"/>
                <a:gd name="T9" fmla="*/ 8 h 71"/>
                <a:gd name="T10" fmla="*/ 0 w 57"/>
                <a:gd name="T11" fmla="*/ 8 h 71"/>
                <a:gd name="T12" fmla="*/ 0 w 57"/>
                <a:gd name="T13" fmla="*/ 8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71">
                  <a:moveTo>
                    <a:pt x="0" y="8"/>
                  </a:moveTo>
                  <a:lnTo>
                    <a:pt x="44" y="71"/>
                  </a:lnTo>
                  <a:lnTo>
                    <a:pt x="57" y="62"/>
                  </a:lnTo>
                  <a:lnTo>
                    <a:pt x="14" y="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2431" y="2686"/>
              <a:ext cx="53" cy="75"/>
            </a:xfrm>
            <a:custGeom>
              <a:avLst/>
              <a:gdLst>
                <a:gd name="T0" fmla="*/ 0 w 53"/>
                <a:gd name="T1" fmla="*/ 10 h 75"/>
                <a:gd name="T2" fmla="*/ 37 w 53"/>
                <a:gd name="T3" fmla="*/ 75 h 75"/>
                <a:gd name="T4" fmla="*/ 53 w 53"/>
                <a:gd name="T5" fmla="*/ 68 h 75"/>
                <a:gd name="T6" fmla="*/ 12 w 53"/>
                <a:gd name="T7" fmla="*/ 0 h 75"/>
                <a:gd name="T8" fmla="*/ 0 w 53"/>
                <a:gd name="T9" fmla="*/ 10 h 75"/>
                <a:gd name="T10" fmla="*/ 0 w 53"/>
                <a:gd name="T11" fmla="*/ 10 h 75"/>
                <a:gd name="T12" fmla="*/ 0 w 53"/>
                <a:gd name="T13" fmla="*/ 1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75">
                  <a:moveTo>
                    <a:pt x="0" y="10"/>
                  </a:moveTo>
                  <a:lnTo>
                    <a:pt x="37" y="75"/>
                  </a:lnTo>
                  <a:lnTo>
                    <a:pt x="53" y="68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6"/>
            <p:cNvSpPr>
              <a:spLocks/>
            </p:cNvSpPr>
            <p:nvPr/>
          </p:nvSpPr>
          <p:spPr bwMode="auto">
            <a:xfrm>
              <a:off x="2513" y="2643"/>
              <a:ext cx="48" cy="77"/>
            </a:xfrm>
            <a:custGeom>
              <a:avLst/>
              <a:gdLst>
                <a:gd name="T0" fmla="*/ 0 w 48"/>
                <a:gd name="T1" fmla="*/ 6 h 77"/>
                <a:gd name="T2" fmla="*/ 35 w 48"/>
                <a:gd name="T3" fmla="*/ 77 h 77"/>
                <a:gd name="T4" fmla="*/ 48 w 48"/>
                <a:gd name="T5" fmla="*/ 70 h 77"/>
                <a:gd name="T6" fmla="*/ 17 w 48"/>
                <a:gd name="T7" fmla="*/ 0 h 77"/>
                <a:gd name="T8" fmla="*/ 0 w 48"/>
                <a:gd name="T9" fmla="*/ 6 h 77"/>
                <a:gd name="T10" fmla="*/ 0 w 48"/>
                <a:gd name="T11" fmla="*/ 6 h 77"/>
                <a:gd name="T12" fmla="*/ 0 w 48"/>
                <a:gd name="T13" fmla="*/ 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6"/>
                  </a:moveTo>
                  <a:lnTo>
                    <a:pt x="35" y="77"/>
                  </a:lnTo>
                  <a:lnTo>
                    <a:pt x="48" y="70"/>
                  </a:lnTo>
                  <a:lnTo>
                    <a:pt x="17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7"/>
            <p:cNvSpPr>
              <a:spLocks/>
            </p:cNvSpPr>
            <p:nvPr/>
          </p:nvSpPr>
          <p:spPr bwMode="auto">
            <a:xfrm>
              <a:off x="2558" y="2623"/>
              <a:ext cx="46" cy="77"/>
            </a:xfrm>
            <a:custGeom>
              <a:avLst/>
              <a:gdLst>
                <a:gd name="T0" fmla="*/ 0 w 46"/>
                <a:gd name="T1" fmla="*/ 4 h 77"/>
                <a:gd name="T2" fmla="*/ 29 w 46"/>
                <a:gd name="T3" fmla="*/ 77 h 77"/>
                <a:gd name="T4" fmla="*/ 46 w 46"/>
                <a:gd name="T5" fmla="*/ 72 h 77"/>
                <a:gd name="T6" fmla="*/ 15 w 46"/>
                <a:gd name="T7" fmla="*/ 0 h 77"/>
                <a:gd name="T8" fmla="*/ 0 w 46"/>
                <a:gd name="T9" fmla="*/ 4 h 77"/>
                <a:gd name="T10" fmla="*/ 0 w 46"/>
                <a:gd name="T11" fmla="*/ 4 h 77"/>
                <a:gd name="T12" fmla="*/ 0 w 46"/>
                <a:gd name="T13" fmla="*/ 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77">
                  <a:moveTo>
                    <a:pt x="0" y="4"/>
                  </a:moveTo>
                  <a:lnTo>
                    <a:pt x="29" y="77"/>
                  </a:lnTo>
                  <a:lnTo>
                    <a:pt x="46" y="72"/>
                  </a:lnTo>
                  <a:lnTo>
                    <a:pt x="15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8"/>
            <p:cNvSpPr>
              <a:spLocks/>
            </p:cNvSpPr>
            <p:nvPr/>
          </p:nvSpPr>
          <p:spPr bwMode="auto">
            <a:xfrm>
              <a:off x="2604" y="2605"/>
              <a:ext cx="41" cy="79"/>
            </a:xfrm>
            <a:custGeom>
              <a:avLst/>
              <a:gdLst>
                <a:gd name="T0" fmla="*/ 0 w 41"/>
                <a:gd name="T1" fmla="*/ 8 h 79"/>
                <a:gd name="T2" fmla="*/ 25 w 41"/>
                <a:gd name="T3" fmla="*/ 79 h 79"/>
                <a:gd name="T4" fmla="*/ 41 w 41"/>
                <a:gd name="T5" fmla="*/ 74 h 79"/>
                <a:gd name="T6" fmla="*/ 14 w 41"/>
                <a:gd name="T7" fmla="*/ 0 h 79"/>
                <a:gd name="T8" fmla="*/ 0 w 41"/>
                <a:gd name="T9" fmla="*/ 8 h 79"/>
                <a:gd name="T10" fmla="*/ 0 w 41"/>
                <a:gd name="T11" fmla="*/ 8 h 79"/>
                <a:gd name="T12" fmla="*/ 0 w 41"/>
                <a:gd name="T13" fmla="*/ 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79">
                  <a:moveTo>
                    <a:pt x="0" y="8"/>
                  </a:moveTo>
                  <a:lnTo>
                    <a:pt x="25" y="79"/>
                  </a:lnTo>
                  <a:lnTo>
                    <a:pt x="41" y="74"/>
                  </a:lnTo>
                  <a:lnTo>
                    <a:pt x="14" y="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9"/>
            <p:cNvSpPr>
              <a:spLocks/>
            </p:cNvSpPr>
            <p:nvPr/>
          </p:nvSpPr>
          <p:spPr bwMode="auto">
            <a:xfrm>
              <a:off x="2652" y="2590"/>
              <a:ext cx="35" cy="80"/>
            </a:xfrm>
            <a:custGeom>
              <a:avLst/>
              <a:gdLst>
                <a:gd name="T0" fmla="*/ 0 w 35"/>
                <a:gd name="T1" fmla="*/ 5 h 80"/>
                <a:gd name="T2" fmla="*/ 19 w 35"/>
                <a:gd name="T3" fmla="*/ 80 h 80"/>
                <a:gd name="T4" fmla="*/ 35 w 35"/>
                <a:gd name="T5" fmla="*/ 75 h 80"/>
                <a:gd name="T6" fmla="*/ 13 w 35"/>
                <a:gd name="T7" fmla="*/ 0 h 80"/>
                <a:gd name="T8" fmla="*/ 0 w 35"/>
                <a:gd name="T9" fmla="*/ 5 h 80"/>
                <a:gd name="T10" fmla="*/ 0 w 35"/>
                <a:gd name="T11" fmla="*/ 5 h 80"/>
                <a:gd name="T12" fmla="*/ 0 w 35"/>
                <a:gd name="T13" fmla="*/ 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80">
                  <a:moveTo>
                    <a:pt x="0" y="5"/>
                  </a:moveTo>
                  <a:lnTo>
                    <a:pt x="19" y="80"/>
                  </a:lnTo>
                  <a:lnTo>
                    <a:pt x="35" y="75"/>
                  </a:lnTo>
                  <a:lnTo>
                    <a:pt x="1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0"/>
            <p:cNvSpPr>
              <a:spLocks/>
            </p:cNvSpPr>
            <p:nvPr/>
          </p:nvSpPr>
          <p:spPr bwMode="auto">
            <a:xfrm>
              <a:off x="2744" y="2569"/>
              <a:ext cx="32" cy="80"/>
            </a:xfrm>
            <a:custGeom>
              <a:avLst/>
              <a:gdLst>
                <a:gd name="T0" fmla="*/ 0 w 32"/>
                <a:gd name="T1" fmla="*/ 3 h 80"/>
                <a:gd name="T2" fmla="*/ 16 w 32"/>
                <a:gd name="T3" fmla="*/ 80 h 80"/>
                <a:gd name="T4" fmla="*/ 32 w 32"/>
                <a:gd name="T5" fmla="*/ 75 h 80"/>
                <a:gd name="T6" fmla="*/ 16 w 32"/>
                <a:gd name="T7" fmla="*/ 0 h 80"/>
                <a:gd name="T8" fmla="*/ 0 w 32"/>
                <a:gd name="T9" fmla="*/ 3 h 80"/>
                <a:gd name="T10" fmla="*/ 0 w 32"/>
                <a:gd name="T11" fmla="*/ 3 h 80"/>
                <a:gd name="T12" fmla="*/ 0 w 32"/>
                <a:gd name="T13" fmla="*/ 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80">
                  <a:moveTo>
                    <a:pt x="0" y="3"/>
                  </a:moveTo>
                  <a:lnTo>
                    <a:pt x="16" y="80"/>
                  </a:lnTo>
                  <a:lnTo>
                    <a:pt x="32" y="75"/>
                  </a:lnTo>
                  <a:lnTo>
                    <a:pt x="16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1"/>
            <p:cNvSpPr>
              <a:spLocks/>
            </p:cNvSpPr>
            <p:nvPr/>
          </p:nvSpPr>
          <p:spPr bwMode="auto">
            <a:xfrm>
              <a:off x="2792" y="2562"/>
              <a:ext cx="29" cy="77"/>
            </a:xfrm>
            <a:custGeom>
              <a:avLst/>
              <a:gdLst>
                <a:gd name="T0" fmla="*/ 0 w 29"/>
                <a:gd name="T1" fmla="*/ 1 h 77"/>
                <a:gd name="T2" fmla="*/ 10 w 29"/>
                <a:gd name="T3" fmla="*/ 77 h 77"/>
                <a:gd name="T4" fmla="*/ 29 w 29"/>
                <a:gd name="T5" fmla="*/ 76 h 77"/>
                <a:gd name="T6" fmla="*/ 17 w 29"/>
                <a:gd name="T7" fmla="*/ 0 h 77"/>
                <a:gd name="T8" fmla="*/ 0 w 29"/>
                <a:gd name="T9" fmla="*/ 1 h 77"/>
                <a:gd name="T10" fmla="*/ 0 w 29"/>
                <a:gd name="T11" fmla="*/ 1 h 77"/>
                <a:gd name="T12" fmla="*/ 0 w 29"/>
                <a:gd name="T13" fmla="*/ 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77">
                  <a:moveTo>
                    <a:pt x="0" y="1"/>
                  </a:moveTo>
                  <a:lnTo>
                    <a:pt x="10" y="77"/>
                  </a:lnTo>
                  <a:lnTo>
                    <a:pt x="29" y="76"/>
                  </a:lnTo>
                  <a:lnTo>
                    <a:pt x="17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2"/>
            <p:cNvSpPr>
              <a:spLocks/>
            </p:cNvSpPr>
            <p:nvPr/>
          </p:nvSpPr>
          <p:spPr bwMode="auto">
            <a:xfrm>
              <a:off x="2838" y="2557"/>
              <a:ext cx="26" cy="79"/>
            </a:xfrm>
            <a:custGeom>
              <a:avLst/>
              <a:gdLst>
                <a:gd name="T0" fmla="*/ 0 w 26"/>
                <a:gd name="T1" fmla="*/ 2 h 79"/>
                <a:gd name="T2" fmla="*/ 11 w 26"/>
                <a:gd name="T3" fmla="*/ 79 h 79"/>
                <a:gd name="T4" fmla="*/ 26 w 26"/>
                <a:gd name="T5" fmla="*/ 76 h 79"/>
                <a:gd name="T6" fmla="*/ 19 w 26"/>
                <a:gd name="T7" fmla="*/ 0 h 79"/>
                <a:gd name="T8" fmla="*/ 0 w 26"/>
                <a:gd name="T9" fmla="*/ 2 h 79"/>
                <a:gd name="T10" fmla="*/ 0 w 26"/>
                <a:gd name="T11" fmla="*/ 2 h 79"/>
                <a:gd name="T12" fmla="*/ 0 w 26"/>
                <a:gd name="T13" fmla="*/ 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79">
                  <a:moveTo>
                    <a:pt x="0" y="2"/>
                  </a:moveTo>
                  <a:lnTo>
                    <a:pt x="11" y="79"/>
                  </a:lnTo>
                  <a:lnTo>
                    <a:pt x="26" y="76"/>
                  </a:lnTo>
                  <a:lnTo>
                    <a:pt x="19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"/>
            <p:cNvSpPr>
              <a:spLocks/>
            </p:cNvSpPr>
            <p:nvPr/>
          </p:nvSpPr>
          <p:spPr bwMode="auto">
            <a:xfrm>
              <a:off x="2886" y="2555"/>
              <a:ext cx="23" cy="76"/>
            </a:xfrm>
            <a:custGeom>
              <a:avLst/>
              <a:gdLst>
                <a:gd name="T0" fmla="*/ 0 w 23"/>
                <a:gd name="T1" fmla="*/ 0 h 76"/>
                <a:gd name="T2" fmla="*/ 5 w 23"/>
                <a:gd name="T3" fmla="*/ 76 h 76"/>
                <a:gd name="T4" fmla="*/ 23 w 23"/>
                <a:gd name="T5" fmla="*/ 75 h 76"/>
                <a:gd name="T6" fmla="*/ 17 w 23"/>
                <a:gd name="T7" fmla="*/ 0 h 76"/>
                <a:gd name="T8" fmla="*/ 0 w 23"/>
                <a:gd name="T9" fmla="*/ 0 h 76"/>
                <a:gd name="T10" fmla="*/ 0 w 23"/>
                <a:gd name="T11" fmla="*/ 0 h 76"/>
                <a:gd name="T12" fmla="*/ 0 w 23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76">
                  <a:moveTo>
                    <a:pt x="0" y="0"/>
                  </a:moveTo>
                  <a:lnTo>
                    <a:pt x="5" y="76"/>
                  </a:lnTo>
                  <a:lnTo>
                    <a:pt x="23" y="7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4"/>
            <p:cNvSpPr>
              <a:spLocks/>
            </p:cNvSpPr>
            <p:nvPr/>
          </p:nvSpPr>
          <p:spPr bwMode="auto">
            <a:xfrm>
              <a:off x="2980" y="2555"/>
              <a:ext cx="21" cy="76"/>
            </a:xfrm>
            <a:custGeom>
              <a:avLst/>
              <a:gdLst>
                <a:gd name="T0" fmla="*/ 0 w 21"/>
                <a:gd name="T1" fmla="*/ 76 h 76"/>
                <a:gd name="T2" fmla="*/ 16 w 21"/>
                <a:gd name="T3" fmla="*/ 76 h 76"/>
                <a:gd name="T4" fmla="*/ 21 w 21"/>
                <a:gd name="T5" fmla="*/ 2 h 76"/>
                <a:gd name="T6" fmla="*/ 5 w 21"/>
                <a:gd name="T7" fmla="*/ 0 h 76"/>
                <a:gd name="T8" fmla="*/ 0 w 21"/>
                <a:gd name="T9" fmla="*/ 76 h 76"/>
                <a:gd name="T10" fmla="*/ 0 w 21"/>
                <a:gd name="T11" fmla="*/ 76 h 76"/>
                <a:gd name="T12" fmla="*/ 0 w 21"/>
                <a:gd name="T1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6">
                  <a:moveTo>
                    <a:pt x="0" y="76"/>
                  </a:moveTo>
                  <a:lnTo>
                    <a:pt x="16" y="76"/>
                  </a:lnTo>
                  <a:lnTo>
                    <a:pt x="21" y="2"/>
                  </a:lnTo>
                  <a:lnTo>
                    <a:pt x="5" y="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"/>
            <p:cNvSpPr>
              <a:spLocks/>
            </p:cNvSpPr>
            <p:nvPr/>
          </p:nvSpPr>
          <p:spPr bwMode="auto">
            <a:xfrm>
              <a:off x="3024" y="2558"/>
              <a:ext cx="26" cy="80"/>
            </a:xfrm>
            <a:custGeom>
              <a:avLst/>
              <a:gdLst>
                <a:gd name="T0" fmla="*/ 0 w 26"/>
                <a:gd name="T1" fmla="*/ 78 h 80"/>
                <a:gd name="T2" fmla="*/ 18 w 26"/>
                <a:gd name="T3" fmla="*/ 80 h 80"/>
                <a:gd name="T4" fmla="*/ 26 w 26"/>
                <a:gd name="T5" fmla="*/ 0 h 80"/>
                <a:gd name="T6" fmla="*/ 11 w 26"/>
                <a:gd name="T7" fmla="*/ 0 h 80"/>
                <a:gd name="T8" fmla="*/ 0 w 26"/>
                <a:gd name="T9" fmla="*/ 78 h 80"/>
                <a:gd name="T10" fmla="*/ 0 w 26"/>
                <a:gd name="T11" fmla="*/ 78 h 80"/>
                <a:gd name="T12" fmla="*/ 0 w 26"/>
                <a:gd name="T13" fmla="*/ 7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80">
                  <a:moveTo>
                    <a:pt x="0" y="78"/>
                  </a:moveTo>
                  <a:lnTo>
                    <a:pt x="18" y="80"/>
                  </a:lnTo>
                  <a:lnTo>
                    <a:pt x="26" y="0"/>
                  </a:lnTo>
                  <a:lnTo>
                    <a:pt x="11" y="0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"/>
            <p:cNvSpPr>
              <a:spLocks/>
            </p:cNvSpPr>
            <p:nvPr/>
          </p:nvSpPr>
          <p:spPr bwMode="auto">
            <a:xfrm>
              <a:off x="3069" y="2563"/>
              <a:ext cx="31" cy="80"/>
            </a:xfrm>
            <a:custGeom>
              <a:avLst/>
              <a:gdLst>
                <a:gd name="T0" fmla="*/ 0 w 31"/>
                <a:gd name="T1" fmla="*/ 76 h 80"/>
                <a:gd name="T2" fmla="*/ 15 w 31"/>
                <a:gd name="T3" fmla="*/ 80 h 80"/>
                <a:gd name="T4" fmla="*/ 31 w 31"/>
                <a:gd name="T5" fmla="*/ 4 h 80"/>
                <a:gd name="T6" fmla="*/ 14 w 31"/>
                <a:gd name="T7" fmla="*/ 0 h 80"/>
                <a:gd name="T8" fmla="*/ 0 w 31"/>
                <a:gd name="T9" fmla="*/ 76 h 80"/>
                <a:gd name="T10" fmla="*/ 0 w 31"/>
                <a:gd name="T11" fmla="*/ 76 h 80"/>
                <a:gd name="T12" fmla="*/ 0 w 31"/>
                <a:gd name="T13" fmla="*/ 7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80">
                  <a:moveTo>
                    <a:pt x="0" y="76"/>
                  </a:moveTo>
                  <a:lnTo>
                    <a:pt x="15" y="80"/>
                  </a:lnTo>
                  <a:lnTo>
                    <a:pt x="31" y="4"/>
                  </a:lnTo>
                  <a:lnTo>
                    <a:pt x="14" y="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"/>
            <p:cNvSpPr>
              <a:spLocks/>
            </p:cNvSpPr>
            <p:nvPr/>
          </p:nvSpPr>
          <p:spPr bwMode="auto">
            <a:xfrm>
              <a:off x="3112" y="2572"/>
              <a:ext cx="34" cy="79"/>
            </a:xfrm>
            <a:custGeom>
              <a:avLst/>
              <a:gdLst>
                <a:gd name="T0" fmla="*/ 0 w 34"/>
                <a:gd name="T1" fmla="*/ 75 h 79"/>
                <a:gd name="T2" fmla="*/ 17 w 34"/>
                <a:gd name="T3" fmla="*/ 79 h 79"/>
                <a:gd name="T4" fmla="*/ 34 w 34"/>
                <a:gd name="T5" fmla="*/ 2 h 79"/>
                <a:gd name="T6" fmla="*/ 17 w 34"/>
                <a:gd name="T7" fmla="*/ 0 h 79"/>
                <a:gd name="T8" fmla="*/ 0 w 34"/>
                <a:gd name="T9" fmla="*/ 75 h 79"/>
                <a:gd name="T10" fmla="*/ 0 w 34"/>
                <a:gd name="T11" fmla="*/ 75 h 79"/>
                <a:gd name="T12" fmla="*/ 0 w 34"/>
                <a:gd name="T13" fmla="*/ 7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79">
                  <a:moveTo>
                    <a:pt x="0" y="75"/>
                  </a:moveTo>
                  <a:lnTo>
                    <a:pt x="17" y="79"/>
                  </a:lnTo>
                  <a:lnTo>
                    <a:pt x="34" y="2"/>
                  </a:lnTo>
                  <a:lnTo>
                    <a:pt x="17" y="0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8"/>
            <p:cNvSpPr>
              <a:spLocks/>
            </p:cNvSpPr>
            <p:nvPr/>
          </p:nvSpPr>
          <p:spPr bwMode="auto">
            <a:xfrm>
              <a:off x="3200" y="2597"/>
              <a:ext cx="40" cy="77"/>
            </a:xfrm>
            <a:custGeom>
              <a:avLst/>
              <a:gdLst>
                <a:gd name="T0" fmla="*/ 0 w 40"/>
                <a:gd name="T1" fmla="*/ 74 h 77"/>
                <a:gd name="T2" fmla="*/ 14 w 40"/>
                <a:gd name="T3" fmla="*/ 77 h 77"/>
                <a:gd name="T4" fmla="*/ 40 w 40"/>
                <a:gd name="T5" fmla="*/ 5 h 77"/>
                <a:gd name="T6" fmla="*/ 23 w 40"/>
                <a:gd name="T7" fmla="*/ 0 h 77"/>
                <a:gd name="T8" fmla="*/ 0 w 40"/>
                <a:gd name="T9" fmla="*/ 74 h 77"/>
                <a:gd name="T10" fmla="*/ 0 w 40"/>
                <a:gd name="T11" fmla="*/ 74 h 77"/>
                <a:gd name="T12" fmla="*/ 0 w 40"/>
                <a:gd name="T13" fmla="*/ 7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77">
                  <a:moveTo>
                    <a:pt x="0" y="74"/>
                  </a:moveTo>
                  <a:lnTo>
                    <a:pt x="14" y="77"/>
                  </a:lnTo>
                  <a:lnTo>
                    <a:pt x="40" y="5"/>
                  </a:lnTo>
                  <a:lnTo>
                    <a:pt x="23" y="0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9"/>
            <p:cNvSpPr>
              <a:spLocks/>
            </p:cNvSpPr>
            <p:nvPr/>
          </p:nvSpPr>
          <p:spPr bwMode="auto">
            <a:xfrm>
              <a:off x="3243" y="2610"/>
              <a:ext cx="41" cy="79"/>
            </a:xfrm>
            <a:custGeom>
              <a:avLst/>
              <a:gdLst>
                <a:gd name="T0" fmla="*/ 26 w 41"/>
                <a:gd name="T1" fmla="*/ 0 h 79"/>
                <a:gd name="T2" fmla="*/ 0 w 41"/>
                <a:gd name="T3" fmla="*/ 74 h 79"/>
                <a:gd name="T4" fmla="*/ 14 w 41"/>
                <a:gd name="T5" fmla="*/ 79 h 79"/>
                <a:gd name="T6" fmla="*/ 41 w 41"/>
                <a:gd name="T7" fmla="*/ 6 h 79"/>
                <a:gd name="T8" fmla="*/ 26 w 41"/>
                <a:gd name="T9" fmla="*/ 0 h 79"/>
                <a:gd name="T10" fmla="*/ 26 w 41"/>
                <a:gd name="T11" fmla="*/ 0 h 79"/>
                <a:gd name="T12" fmla="*/ 26 w 41"/>
                <a:gd name="T13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79">
                  <a:moveTo>
                    <a:pt x="26" y="0"/>
                  </a:moveTo>
                  <a:lnTo>
                    <a:pt x="0" y="74"/>
                  </a:lnTo>
                  <a:lnTo>
                    <a:pt x="14" y="79"/>
                  </a:lnTo>
                  <a:lnTo>
                    <a:pt x="41" y="6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0"/>
            <p:cNvSpPr>
              <a:spLocks/>
            </p:cNvSpPr>
            <p:nvPr/>
          </p:nvSpPr>
          <p:spPr bwMode="auto">
            <a:xfrm>
              <a:off x="3284" y="2626"/>
              <a:ext cx="48" cy="79"/>
            </a:xfrm>
            <a:custGeom>
              <a:avLst/>
              <a:gdLst>
                <a:gd name="T0" fmla="*/ 31 w 48"/>
                <a:gd name="T1" fmla="*/ 0 h 79"/>
                <a:gd name="T2" fmla="*/ 0 w 48"/>
                <a:gd name="T3" fmla="*/ 74 h 79"/>
                <a:gd name="T4" fmla="*/ 14 w 48"/>
                <a:gd name="T5" fmla="*/ 79 h 79"/>
                <a:gd name="T6" fmla="*/ 48 w 48"/>
                <a:gd name="T7" fmla="*/ 9 h 79"/>
                <a:gd name="T8" fmla="*/ 31 w 48"/>
                <a:gd name="T9" fmla="*/ 0 h 79"/>
                <a:gd name="T10" fmla="*/ 31 w 48"/>
                <a:gd name="T11" fmla="*/ 0 h 79"/>
                <a:gd name="T12" fmla="*/ 31 w 48"/>
                <a:gd name="T13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9">
                  <a:moveTo>
                    <a:pt x="31" y="0"/>
                  </a:moveTo>
                  <a:lnTo>
                    <a:pt x="0" y="74"/>
                  </a:lnTo>
                  <a:lnTo>
                    <a:pt x="14" y="79"/>
                  </a:lnTo>
                  <a:lnTo>
                    <a:pt x="48" y="9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"/>
            <p:cNvSpPr>
              <a:spLocks/>
            </p:cNvSpPr>
            <p:nvPr/>
          </p:nvSpPr>
          <p:spPr bwMode="auto">
            <a:xfrm>
              <a:off x="3324" y="2648"/>
              <a:ext cx="51" cy="76"/>
            </a:xfrm>
            <a:custGeom>
              <a:avLst/>
              <a:gdLst>
                <a:gd name="T0" fmla="*/ 35 w 51"/>
                <a:gd name="T1" fmla="*/ 0 h 76"/>
                <a:gd name="T2" fmla="*/ 0 w 51"/>
                <a:gd name="T3" fmla="*/ 70 h 76"/>
                <a:gd name="T4" fmla="*/ 16 w 51"/>
                <a:gd name="T5" fmla="*/ 76 h 76"/>
                <a:gd name="T6" fmla="*/ 51 w 51"/>
                <a:gd name="T7" fmla="*/ 6 h 76"/>
                <a:gd name="T8" fmla="*/ 35 w 51"/>
                <a:gd name="T9" fmla="*/ 0 h 76"/>
                <a:gd name="T10" fmla="*/ 35 w 51"/>
                <a:gd name="T11" fmla="*/ 0 h 76"/>
                <a:gd name="T12" fmla="*/ 35 w 51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76">
                  <a:moveTo>
                    <a:pt x="35" y="0"/>
                  </a:moveTo>
                  <a:lnTo>
                    <a:pt x="0" y="70"/>
                  </a:lnTo>
                  <a:lnTo>
                    <a:pt x="16" y="76"/>
                  </a:lnTo>
                  <a:lnTo>
                    <a:pt x="51" y="6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2"/>
            <p:cNvSpPr>
              <a:spLocks/>
            </p:cNvSpPr>
            <p:nvPr/>
          </p:nvSpPr>
          <p:spPr bwMode="auto">
            <a:xfrm>
              <a:off x="3402" y="2694"/>
              <a:ext cx="57" cy="73"/>
            </a:xfrm>
            <a:custGeom>
              <a:avLst/>
              <a:gdLst>
                <a:gd name="T0" fmla="*/ 43 w 57"/>
                <a:gd name="T1" fmla="*/ 0 h 73"/>
                <a:gd name="T2" fmla="*/ 0 w 57"/>
                <a:gd name="T3" fmla="*/ 65 h 73"/>
                <a:gd name="T4" fmla="*/ 15 w 57"/>
                <a:gd name="T5" fmla="*/ 73 h 73"/>
                <a:gd name="T6" fmla="*/ 57 w 57"/>
                <a:gd name="T7" fmla="*/ 8 h 73"/>
                <a:gd name="T8" fmla="*/ 43 w 57"/>
                <a:gd name="T9" fmla="*/ 0 h 73"/>
                <a:gd name="T10" fmla="*/ 43 w 57"/>
                <a:gd name="T11" fmla="*/ 0 h 73"/>
                <a:gd name="T12" fmla="*/ 43 w 57"/>
                <a:gd name="T13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73">
                  <a:moveTo>
                    <a:pt x="43" y="0"/>
                  </a:moveTo>
                  <a:lnTo>
                    <a:pt x="0" y="65"/>
                  </a:lnTo>
                  <a:lnTo>
                    <a:pt x="15" y="73"/>
                  </a:lnTo>
                  <a:lnTo>
                    <a:pt x="57" y="8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3"/>
            <p:cNvSpPr>
              <a:spLocks/>
            </p:cNvSpPr>
            <p:nvPr/>
          </p:nvSpPr>
          <p:spPr bwMode="auto">
            <a:xfrm>
              <a:off x="3441" y="2720"/>
              <a:ext cx="58" cy="74"/>
            </a:xfrm>
            <a:custGeom>
              <a:avLst/>
              <a:gdLst>
                <a:gd name="T0" fmla="*/ 43 w 58"/>
                <a:gd name="T1" fmla="*/ 0 h 74"/>
                <a:gd name="T2" fmla="*/ 0 w 58"/>
                <a:gd name="T3" fmla="*/ 64 h 74"/>
                <a:gd name="T4" fmla="*/ 12 w 58"/>
                <a:gd name="T5" fmla="*/ 74 h 74"/>
                <a:gd name="T6" fmla="*/ 58 w 58"/>
                <a:gd name="T7" fmla="*/ 9 h 74"/>
                <a:gd name="T8" fmla="*/ 43 w 58"/>
                <a:gd name="T9" fmla="*/ 0 h 74"/>
                <a:gd name="T10" fmla="*/ 43 w 58"/>
                <a:gd name="T11" fmla="*/ 0 h 74"/>
                <a:gd name="T12" fmla="*/ 43 w 58"/>
                <a:gd name="T13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4">
                  <a:moveTo>
                    <a:pt x="43" y="0"/>
                  </a:moveTo>
                  <a:lnTo>
                    <a:pt x="0" y="64"/>
                  </a:lnTo>
                  <a:lnTo>
                    <a:pt x="12" y="74"/>
                  </a:lnTo>
                  <a:lnTo>
                    <a:pt x="58" y="9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4"/>
            <p:cNvSpPr>
              <a:spLocks/>
            </p:cNvSpPr>
            <p:nvPr/>
          </p:nvSpPr>
          <p:spPr bwMode="auto">
            <a:xfrm>
              <a:off x="3477" y="2746"/>
              <a:ext cx="61" cy="73"/>
            </a:xfrm>
            <a:custGeom>
              <a:avLst/>
              <a:gdLst>
                <a:gd name="T0" fmla="*/ 49 w 61"/>
                <a:gd name="T1" fmla="*/ 0 h 73"/>
                <a:gd name="T2" fmla="*/ 0 w 61"/>
                <a:gd name="T3" fmla="*/ 61 h 73"/>
                <a:gd name="T4" fmla="*/ 14 w 61"/>
                <a:gd name="T5" fmla="*/ 73 h 73"/>
                <a:gd name="T6" fmla="*/ 61 w 61"/>
                <a:gd name="T7" fmla="*/ 9 h 73"/>
                <a:gd name="T8" fmla="*/ 49 w 61"/>
                <a:gd name="T9" fmla="*/ 0 h 73"/>
                <a:gd name="T10" fmla="*/ 49 w 61"/>
                <a:gd name="T11" fmla="*/ 0 h 73"/>
                <a:gd name="T12" fmla="*/ 49 w 61"/>
                <a:gd name="T13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73">
                  <a:moveTo>
                    <a:pt x="49" y="0"/>
                  </a:moveTo>
                  <a:lnTo>
                    <a:pt x="0" y="61"/>
                  </a:lnTo>
                  <a:lnTo>
                    <a:pt x="14" y="73"/>
                  </a:lnTo>
                  <a:lnTo>
                    <a:pt x="61" y="9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5"/>
            <p:cNvSpPr>
              <a:spLocks/>
            </p:cNvSpPr>
            <p:nvPr/>
          </p:nvSpPr>
          <p:spPr bwMode="auto">
            <a:xfrm>
              <a:off x="3512" y="2776"/>
              <a:ext cx="64" cy="71"/>
            </a:xfrm>
            <a:custGeom>
              <a:avLst/>
              <a:gdLst>
                <a:gd name="T0" fmla="*/ 52 w 64"/>
                <a:gd name="T1" fmla="*/ 0 h 71"/>
                <a:gd name="T2" fmla="*/ 0 w 64"/>
                <a:gd name="T3" fmla="*/ 59 h 71"/>
                <a:gd name="T4" fmla="*/ 14 w 64"/>
                <a:gd name="T5" fmla="*/ 71 h 71"/>
                <a:gd name="T6" fmla="*/ 64 w 64"/>
                <a:gd name="T7" fmla="*/ 10 h 71"/>
                <a:gd name="T8" fmla="*/ 52 w 64"/>
                <a:gd name="T9" fmla="*/ 0 h 71"/>
                <a:gd name="T10" fmla="*/ 52 w 64"/>
                <a:gd name="T11" fmla="*/ 0 h 71"/>
                <a:gd name="T12" fmla="*/ 52 w 64"/>
                <a:gd name="T1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1">
                  <a:moveTo>
                    <a:pt x="52" y="0"/>
                  </a:moveTo>
                  <a:lnTo>
                    <a:pt x="0" y="59"/>
                  </a:lnTo>
                  <a:lnTo>
                    <a:pt x="14" y="71"/>
                  </a:lnTo>
                  <a:lnTo>
                    <a:pt x="64" y="1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6"/>
            <p:cNvSpPr>
              <a:spLocks/>
            </p:cNvSpPr>
            <p:nvPr/>
          </p:nvSpPr>
          <p:spPr bwMode="auto">
            <a:xfrm>
              <a:off x="3530" y="2802"/>
              <a:ext cx="87" cy="91"/>
            </a:xfrm>
            <a:custGeom>
              <a:avLst/>
              <a:gdLst>
                <a:gd name="T0" fmla="*/ 75 w 87"/>
                <a:gd name="T1" fmla="*/ 0 h 91"/>
                <a:gd name="T2" fmla="*/ 0 w 87"/>
                <a:gd name="T3" fmla="*/ 81 h 91"/>
                <a:gd name="T4" fmla="*/ 12 w 87"/>
                <a:gd name="T5" fmla="*/ 91 h 91"/>
                <a:gd name="T6" fmla="*/ 87 w 87"/>
                <a:gd name="T7" fmla="*/ 10 h 91"/>
                <a:gd name="T8" fmla="*/ 75 w 87"/>
                <a:gd name="T9" fmla="*/ 0 h 91"/>
                <a:gd name="T10" fmla="*/ 75 w 87"/>
                <a:gd name="T11" fmla="*/ 0 h 91"/>
                <a:gd name="T12" fmla="*/ 75 w 87"/>
                <a:gd name="T1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91">
                  <a:moveTo>
                    <a:pt x="75" y="0"/>
                  </a:moveTo>
                  <a:lnTo>
                    <a:pt x="0" y="81"/>
                  </a:lnTo>
                  <a:lnTo>
                    <a:pt x="12" y="91"/>
                  </a:lnTo>
                  <a:lnTo>
                    <a:pt x="87" y="1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7"/>
            <p:cNvSpPr>
              <a:spLocks/>
            </p:cNvSpPr>
            <p:nvPr/>
          </p:nvSpPr>
          <p:spPr bwMode="auto">
            <a:xfrm>
              <a:off x="3062" y="2788"/>
              <a:ext cx="283" cy="429"/>
            </a:xfrm>
            <a:custGeom>
              <a:avLst/>
              <a:gdLst>
                <a:gd name="T0" fmla="*/ 31 w 289"/>
                <a:gd name="T1" fmla="*/ 420 h 437"/>
                <a:gd name="T2" fmla="*/ 289 w 289"/>
                <a:gd name="T3" fmla="*/ 7 h 437"/>
                <a:gd name="T4" fmla="*/ 275 w 289"/>
                <a:gd name="T5" fmla="*/ 0 h 437"/>
                <a:gd name="T6" fmla="*/ 223 w 289"/>
                <a:gd name="T7" fmla="*/ 71 h 437"/>
                <a:gd name="T8" fmla="*/ 0 w 289"/>
                <a:gd name="T9" fmla="*/ 427 h 437"/>
                <a:gd name="T10" fmla="*/ 21 w 289"/>
                <a:gd name="T11" fmla="*/ 437 h 437"/>
                <a:gd name="T12" fmla="*/ 31 w 289"/>
                <a:gd name="T13" fmla="*/ 420 h 437"/>
                <a:gd name="T14" fmla="*/ 31 w 289"/>
                <a:gd name="T15" fmla="*/ 42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9" h="437">
                  <a:moveTo>
                    <a:pt x="31" y="420"/>
                  </a:moveTo>
                  <a:cubicBezTo>
                    <a:pt x="289" y="7"/>
                    <a:pt x="289" y="7"/>
                    <a:pt x="289" y="7"/>
                  </a:cubicBezTo>
                  <a:cubicBezTo>
                    <a:pt x="284" y="4"/>
                    <a:pt x="280" y="2"/>
                    <a:pt x="275" y="0"/>
                  </a:cubicBezTo>
                  <a:cubicBezTo>
                    <a:pt x="223" y="71"/>
                    <a:pt x="223" y="71"/>
                    <a:pt x="223" y="71"/>
                  </a:cubicBezTo>
                  <a:cubicBezTo>
                    <a:pt x="0" y="427"/>
                    <a:pt x="0" y="427"/>
                    <a:pt x="0" y="427"/>
                  </a:cubicBezTo>
                  <a:cubicBezTo>
                    <a:pt x="7" y="430"/>
                    <a:pt x="14" y="432"/>
                    <a:pt x="21" y="437"/>
                  </a:cubicBezTo>
                  <a:cubicBezTo>
                    <a:pt x="31" y="420"/>
                    <a:pt x="31" y="420"/>
                    <a:pt x="31" y="420"/>
                  </a:cubicBezTo>
                  <a:cubicBezTo>
                    <a:pt x="31" y="420"/>
                    <a:pt x="31" y="420"/>
                    <a:pt x="31" y="420"/>
                  </a:cubicBez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8"/>
            <p:cNvSpPr>
              <a:spLocks/>
            </p:cNvSpPr>
            <p:nvPr/>
          </p:nvSpPr>
          <p:spPr bwMode="auto">
            <a:xfrm>
              <a:off x="2836" y="2778"/>
              <a:ext cx="491" cy="686"/>
            </a:xfrm>
            <a:custGeom>
              <a:avLst/>
              <a:gdLst>
                <a:gd name="T0" fmla="*/ 501 w 501"/>
                <a:gd name="T1" fmla="*/ 7 h 699"/>
                <a:gd name="T2" fmla="*/ 487 w 501"/>
                <a:gd name="T3" fmla="*/ 0 h 699"/>
                <a:gd name="T4" fmla="*/ 176 w 501"/>
                <a:gd name="T5" fmla="*/ 419 h 699"/>
                <a:gd name="T6" fmla="*/ 100 w 501"/>
                <a:gd name="T7" fmla="*/ 521 h 699"/>
                <a:gd name="T8" fmla="*/ 91 w 501"/>
                <a:gd name="T9" fmla="*/ 521 h 699"/>
                <a:gd name="T10" fmla="*/ 0 w 501"/>
                <a:gd name="T11" fmla="*/ 609 h 699"/>
                <a:gd name="T12" fmla="*/ 91 w 501"/>
                <a:gd name="T13" fmla="*/ 699 h 699"/>
                <a:gd name="T14" fmla="*/ 178 w 501"/>
                <a:gd name="T15" fmla="*/ 609 h 699"/>
                <a:gd name="T16" fmla="*/ 157 w 501"/>
                <a:gd name="T17" fmla="*/ 552 h 699"/>
                <a:gd name="T18" fmla="*/ 231 w 501"/>
                <a:gd name="T19" fmla="*/ 436 h 699"/>
                <a:gd name="T20" fmla="*/ 501 w 501"/>
                <a:gd name="T21" fmla="*/ 7 h 699"/>
                <a:gd name="T22" fmla="*/ 501 w 501"/>
                <a:gd name="T23" fmla="*/ 7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1" h="699">
                  <a:moveTo>
                    <a:pt x="501" y="7"/>
                  </a:moveTo>
                  <a:cubicBezTo>
                    <a:pt x="497" y="5"/>
                    <a:pt x="492" y="2"/>
                    <a:pt x="487" y="0"/>
                  </a:cubicBezTo>
                  <a:cubicBezTo>
                    <a:pt x="176" y="419"/>
                    <a:pt x="176" y="419"/>
                    <a:pt x="176" y="419"/>
                  </a:cubicBezTo>
                  <a:cubicBezTo>
                    <a:pt x="100" y="521"/>
                    <a:pt x="100" y="521"/>
                    <a:pt x="100" y="521"/>
                  </a:cubicBezTo>
                  <a:cubicBezTo>
                    <a:pt x="98" y="521"/>
                    <a:pt x="93" y="521"/>
                    <a:pt x="91" y="521"/>
                  </a:cubicBezTo>
                  <a:cubicBezTo>
                    <a:pt x="41" y="521"/>
                    <a:pt x="0" y="562"/>
                    <a:pt x="0" y="609"/>
                  </a:cubicBezTo>
                  <a:cubicBezTo>
                    <a:pt x="0" y="659"/>
                    <a:pt x="41" y="699"/>
                    <a:pt x="91" y="699"/>
                  </a:cubicBezTo>
                  <a:cubicBezTo>
                    <a:pt x="138" y="699"/>
                    <a:pt x="178" y="659"/>
                    <a:pt x="178" y="609"/>
                  </a:cubicBezTo>
                  <a:cubicBezTo>
                    <a:pt x="178" y="588"/>
                    <a:pt x="171" y="566"/>
                    <a:pt x="157" y="552"/>
                  </a:cubicBezTo>
                  <a:cubicBezTo>
                    <a:pt x="231" y="436"/>
                    <a:pt x="231" y="436"/>
                    <a:pt x="231" y="436"/>
                  </a:cubicBezTo>
                  <a:cubicBezTo>
                    <a:pt x="501" y="7"/>
                    <a:pt x="501" y="7"/>
                    <a:pt x="501" y="7"/>
                  </a:cubicBezTo>
                  <a:cubicBezTo>
                    <a:pt x="501" y="7"/>
                    <a:pt x="501" y="7"/>
                    <a:pt x="501" y="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3524265" y="2151845"/>
            <a:ext cx="2226216" cy="769384"/>
            <a:chOff x="9086488" y="4188965"/>
            <a:chExt cx="3307889" cy="1143212"/>
          </a:xfrm>
          <a:effectLst>
            <a:reflection blurRad="6350" stA="52000" endA="300" endPos="35000" dir="5400000" sy="-100000" algn="bl" rotWithShape="0"/>
          </a:effectLst>
        </p:grpSpPr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86488" y="4475162"/>
              <a:ext cx="1323258" cy="545463"/>
            </a:xfrm>
            <a:prstGeom prst="rect">
              <a:avLst/>
            </a:prstGeom>
          </p:spPr>
        </p:pic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558072" y="4352478"/>
              <a:ext cx="646232" cy="963251"/>
            </a:xfrm>
            <a:prstGeom prst="rect">
              <a:avLst/>
            </a:prstGeom>
          </p:spPr>
        </p:pic>
        <p:sp>
          <p:nvSpPr>
            <p:cNvPr id="72" name="Freeform 9"/>
            <p:cNvSpPr>
              <a:spLocks/>
            </p:cNvSpPr>
            <p:nvPr/>
          </p:nvSpPr>
          <p:spPr bwMode="auto">
            <a:xfrm>
              <a:off x="9934429" y="4923142"/>
              <a:ext cx="552450" cy="296863"/>
            </a:xfrm>
            <a:custGeom>
              <a:avLst/>
              <a:gdLst>
                <a:gd name="T0" fmla="*/ 210 w 242"/>
                <a:gd name="T1" fmla="*/ 64 h 129"/>
                <a:gd name="T2" fmla="*/ 209 w 242"/>
                <a:gd name="T3" fmla="*/ 64 h 129"/>
                <a:gd name="T4" fmla="*/ 144 w 242"/>
                <a:gd name="T5" fmla="*/ 0 h 129"/>
                <a:gd name="T6" fmla="*/ 80 w 242"/>
                <a:gd name="T7" fmla="*/ 56 h 129"/>
                <a:gd name="T8" fmla="*/ 45 w 242"/>
                <a:gd name="T9" fmla="*/ 39 h 129"/>
                <a:gd name="T10" fmla="*/ 0 w 242"/>
                <a:gd name="T11" fmla="*/ 84 h 129"/>
                <a:gd name="T12" fmla="*/ 45 w 242"/>
                <a:gd name="T13" fmla="*/ 129 h 129"/>
                <a:gd name="T14" fmla="*/ 210 w 242"/>
                <a:gd name="T15" fmla="*/ 129 h 129"/>
                <a:gd name="T16" fmla="*/ 242 w 242"/>
                <a:gd name="T17" fmla="*/ 96 h 129"/>
                <a:gd name="T18" fmla="*/ 210 w 242"/>
                <a:gd name="T19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129">
                  <a:moveTo>
                    <a:pt x="210" y="64"/>
                  </a:moveTo>
                  <a:cubicBezTo>
                    <a:pt x="210" y="64"/>
                    <a:pt x="209" y="64"/>
                    <a:pt x="209" y="64"/>
                  </a:cubicBezTo>
                  <a:cubicBezTo>
                    <a:pt x="209" y="28"/>
                    <a:pt x="180" y="0"/>
                    <a:pt x="144" y="0"/>
                  </a:cubicBezTo>
                  <a:cubicBezTo>
                    <a:pt x="111" y="0"/>
                    <a:pt x="84" y="24"/>
                    <a:pt x="80" y="56"/>
                  </a:cubicBezTo>
                  <a:cubicBezTo>
                    <a:pt x="72" y="46"/>
                    <a:pt x="59" y="39"/>
                    <a:pt x="45" y="39"/>
                  </a:cubicBezTo>
                  <a:cubicBezTo>
                    <a:pt x="20" y="39"/>
                    <a:pt x="0" y="59"/>
                    <a:pt x="0" y="84"/>
                  </a:cubicBezTo>
                  <a:cubicBezTo>
                    <a:pt x="0" y="109"/>
                    <a:pt x="20" y="129"/>
                    <a:pt x="45" y="129"/>
                  </a:cubicBezTo>
                  <a:cubicBezTo>
                    <a:pt x="210" y="129"/>
                    <a:pt x="210" y="129"/>
                    <a:pt x="210" y="129"/>
                  </a:cubicBezTo>
                  <a:cubicBezTo>
                    <a:pt x="228" y="129"/>
                    <a:pt x="242" y="114"/>
                    <a:pt x="242" y="96"/>
                  </a:cubicBezTo>
                  <a:cubicBezTo>
                    <a:pt x="242" y="78"/>
                    <a:pt x="228" y="64"/>
                    <a:pt x="210" y="64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323925" y="4352478"/>
              <a:ext cx="646232" cy="963251"/>
            </a:xfrm>
            <a:prstGeom prst="rect">
              <a:avLst/>
            </a:prstGeom>
          </p:spPr>
        </p:pic>
        <p:sp>
          <p:nvSpPr>
            <p:cNvPr id="74" name="Freeform 116"/>
            <p:cNvSpPr>
              <a:spLocks/>
            </p:cNvSpPr>
            <p:nvPr/>
          </p:nvSpPr>
          <p:spPr bwMode="auto">
            <a:xfrm>
              <a:off x="10802441" y="4188965"/>
              <a:ext cx="574675" cy="327025"/>
            </a:xfrm>
            <a:custGeom>
              <a:avLst/>
              <a:gdLst>
                <a:gd name="T0" fmla="*/ 187 w 224"/>
                <a:gd name="T1" fmla="*/ 53 h 126"/>
                <a:gd name="T2" fmla="*/ 183 w 224"/>
                <a:gd name="T3" fmla="*/ 53 h 126"/>
                <a:gd name="T4" fmla="*/ 187 w 224"/>
                <a:gd name="T5" fmla="*/ 37 h 126"/>
                <a:gd name="T6" fmla="*/ 150 w 224"/>
                <a:gd name="T7" fmla="*/ 0 h 126"/>
                <a:gd name="T8" fmla="*/ 114 w 224"/>
                <a:gd name="T9" fmla="*/ 32 h 126"/>
                <a:gd name="T10" fmla="*/ 86 w 224"/>
                <a:gd name="T11" fmla="*/ 20 h 126"/>
                <a:gd name="T12" fmla="*/ 49 w 224"/>
                <a:gd name="T13" fmla="*/ 55 h 126"/>
                <a:gd name="T14" fmla="*/ 37 w 224"/>
                <a:gd name="T15" fmla="*/ 53 h 126"/>
                <a:gd name="T16" fmla="*/ 0 w 224"/>
                <a:gd name="T17" fmla="*/ 90 h 126"/>
                <a:gd name="T18" fmla="*/ 37 w 224"/>
                <a:gd name="T19" fmla="*/ 126 h 126"/>
                <a:gd name="T20" fmla="*/ 187 w 224"/>
                <a:gd name="T21" fmla="*/ 126 h 126"/>
                <a:gd name="T22" fmla="*/ 224 w 224"/>
                <a:gd name="T23" fmla="*/ 90 h 126"/>
                <a:gd name="T24" fmla="*/ 187 w 224"/>
                <a:gd name="T25" fmla="*/ 5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4" h="126">
                  <a:moveTo>
                    <a:pt x="187" y="53"/>
                  </a:moveTo>
                  <a:cubicBezTo>
                    <a:pt x="186" y="53"/>
                    <a:pt x="184" y="53"/>
                    <a:pt x="183" y="53"/>
                  </a:cubicBezTo>
                  <a:cubicBezTo>
                    <a:pt x="185" y="48"/>
                    <a:pt x="187" y="42"/>
                    <a:pt x="187" y="37"/>
                  </a:cubicBezTo>
                  <a:cubicBezTo>
                    <a:pt x="187" y="16"/>
                    <a:pt x="170" y="0"/>
                    <a:pt x="150" y="0"/>
                  </a:cubicBezTo>
                  <a:cubicBezTo>
                    <a:pt x="131" y="0"/>
                    <a:pt x="116" y="14"/>
                    <a:pt x="114" y="32"/>
                  </a:cubicBezTo>
                  <a:cubicBezTo>
                    <a:pt x="107" y="25"/>
                    <a:pt x="97" y="20"/>
                    <a:pt x="86" y="20"/>
                  </a:cubicBezTo>
                  <a:cubicBezTo>
                    <a:pt x="67" y="20"/>
                    <a:pt x="50" y="36"/>
                    <a:pt x="49" y="55"/>
                  </a:cubicBezTo>
                  <a:cubicBezTo>
                    <a:pt x="45" y="54"/>
                    <a:pt x="41" y="53"/>
                    <a:pt x="37" y="53"/>
                  </a:cubicBezTo>
                  <a:cubicBezTo>
                    <a:pt x="16" y="53"/>
                    <a:pt x="0" y="69"/>
                    <a:pt x="0" y="90"/>
                  </a:cubicBezTo>
                  <a:cubicBezTo>
                    <a:pt x="0" y="110"/>
                    <a:pt x="16" y="126"/>
                    <a:pt x="37" y="126"/>
                  </a:cubicBezTo>
                  <a:cubicBezTo>
                    <a:pt x="187" y="126"/>
                    <a:pt x="187" y="126"/>
                    <a:pt x="187" y="126"/>
                  </a:cubicBezTo>
                  <a:cubicBezTo>
                    <a:pt x="207" y="126"/>
                    <a:pt x="224" y="110"/>
                    <a:pt x="224" y="90"/>
                  </a:cubicBezTo>
                  <a:cubicBezTo>
                    <a:pt x="224" y="69"/>
                    <a:pt x="207" y="53"/>
                    <a:pt x="187" y="53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089779" y="4352478"/>
              <a:ext cx="646232" cy="963251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278842" y="4872340"/>
              <a:ext cx="1115535" cy="459837"/>
            </a:xfrm>
            <a:prstGeom prst="rect">
              <a:avLst/>
            </a:prstGeom>
          </p:spPr>
        </p:pic>
      </p:grpSp>
      <p:sp>
        <p:nvSpPr>
          <p:cNvPr id="77" name="TextBox 76"/>
          <p:cNvSpPr txBox="1"/>
          <p:nvPr/>
        </p:nvSpPr>
        <p:spPr>
          <a:xfrm>
            <a:off x="592603" y="3338594"/>
            <a:ext cx="2637266" cy="5447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2"/>
                </a:solidFill>
              </a:rPr>
              <a:t>Instant Deployment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3359277" y="3332512"/>
            <a:ext cx="2637266" cy="5447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2"/>
                </a:solidFill>
              </a:rPr>
              <a:t>Deploy to Anywhere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125097" y="3340652"/>
            <a:ext cx="2637266" cy="5447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2"/>
                </a:solidFill>
              </a:rPr>
              <a:t>Fast and Scalable</a:t>
            </a:r>
          </a:p>
        </p:txBody>
      </p:sp>
      <p:pic>
        <p:nvPicPr>
          <p:cNvPr id="80" name="Picture 79" descr="Secure Sit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4482" y="1953673"/>
            <a:ext cx="1430135" cy="1430135"/>
          </a:xfrm>
          <a:prstGeom prst="rect">
            <a:avLst/>
          </a:prstGeom>
        </p:spPr>
      </p:pic>
      <p:sp>
        <p:nvSpPr>
          <p:cNvPr id="81" name="TextBox 80"/>
          <p:cNvSpPr txBox="1"/>
          <p:nvPr/>
        </p:nvSpPr>
        <p:spPr>
          <a:xfrm>
            <a:off x="8890917" y="3340652"/>
            <a:ext cx="2637266" cy="5447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2"/>
                </a:solidFill>
              </a:rPr>
              <a:t>Secure and Reliable</a:t>
            </a:r>
          </a:p>
        </p:txBody>
      </p:sp>
    </p:spTree>
    <p:extLst>
      <p:ext uri="{BB962C8B-B14F-4D97-AF65-F5344CB8AC3E}">
        <p14:creationId xmlns:p14="http://schemas.microsoft.com/office/powerpoint/2010/main" val="398344933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st-in-class deployment experience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6849055" y="3565001"/>
            <a:ext cx="5705378" cy="2549217"/>
            <a:chOff x="6849055" y="3565001"/>
            <a:chExt cx="5705378" cy="2549217"/>
          </a:xfrm>
        </p:grpSpPr>
        <p:grpSp>
          <p:nvGrpSpPr>
            <p:cNvPr id="13" name="Group 12"/>
            <p:cNvGrpSpPr/>
            <p:nvPr/>
          </p:nvGrpSpPr>
          <p:grpSpPr>
            <a:xfrm>
              <a:off x="9910743" y="3920888"/>
              <a:ext cx="1796576" cy="1006081"/>
              <a:chOff x="5004633" y="4648754"/>
              <a:chExt cx="2331508" cy="1134424"/>
            </a:xfrm>
            <a:solidFill>
              <a:schemeClr val="accent2"/>
            </a:solidFill>
          </p:grpSpPr>
          <p:sp>
            <p:nvSpPr>
              <p:cNvPr id="14" name="TextBox 13"/>
              <p:cNvSpPr txBox="1"/>
              <p:nvPr/>
            </p:nvSpPr>
            <p:spPr>
              <a:xfrm>
                <a:off x="5004633" y="5316876"/>
                <a:ext cx="2331508" cy="46630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 defTabSz="931881">
                  <a:defRPr/>
                </a:pPr>
                <a:r>
                  <a:rPr lang="en-US" sz="1400" b="1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Developer</a:t>
                </a:r>
              </a:p>
            </p:txBody>
          </p:sp>
          <p:grpSp>
            <p:nvGrpSpPr>
              <p:cNvPr id="15" name="Group 14"/>
              <p:cNvGrpSpPr>
                <a:grpSpLocks noChangeAspect="1"/>
              </p:cNvGrpSpPr>
              <p:nvPr/>
            </p:nvGrpSpPr>
            <p:grpSpPr>
              <a:xfrm>
                <a:off x="5847038" y="4648754"/>
                <a:ext cx="573865" cy="594357"/>
                <a:chOff x="3666777" y="2914650"/>
                <a:chExt cx="637627" cy="660397"/>
              </a:xfrm>
              <a:grpFill/>
            </p:grpSpPr>
            <p:sp>
              <p:nvSpPr>
                <p:cNvPr id="16" name="Oval 15"/>
                <p:cNvSpPr/>
                <p:nvPr/>
              </p:nvSpPr>
              <p:spPr>
                <a:xfrm>
                  <a:off x="3913881" y="2914650"/>
                  <a:ext cx="273051" cy="273050"/>
                </a:xfrm>
                <a:prstGeom prst="ellipse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sz="1836" kern="0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" name="Freeform 65"/>
                <p:cNvSpPr/>
                <p:nvPr/>
              </p:nvSpPr>
              <p:spPr>
                <a:xfrm>
                  <a:off x="3747717" y="3201605"/>
                  <a:ext cx="556687" cy="373442"/>
                </a:xfrm>
                <a:custGeom>
                  <a:avLst/>
                  <a:gdLst>
                    <a:gd name="connsiteX0" fmla="*/ 34925 w 558800"/>
                    <a:gd name="connsiteY0" fmla="*/ 266700 h 371475"/>
                    <a:gd name="connsiteX1" fmla="*/ 203200 w 558800"/>
                    <a:gd name="connsiteY1" fmla="*/ 250825 h 371475"/>
                    <a:gd name="connsiteX2" fmla="*/ 260350 w 558800"/>
                    <a:gd name="connsiteY2" fmla="*/ 73025 h 371475"/>
                    <a:gd name="connsiteX3" fmla="*/ 320675 w 558800"/>
                    <a:gd name="connsiteY3" fmla="*/ 15875 h 371475"/>
                    <a:gd name="connsiteX4" fmla="*/ 419100 w 558800"/>
                    <a:gd name="connsiteY4" fmla="*/ 0 h 371475"/>
                    <a:gd name="connsiteX5" fmla="*/ 501650 w 558800"/>
                    <a:gd name="connsiteY5" fmla="*/ 44450 h 371475"/>
                    <a:gd name="connsiteX6" fmla="*/ 536575 w 558800"/>
                    <a:gd name="connsiteY6" fmla="*/ 98425 h 371475"/>
                    <a:gd name="connsiteX7" fmla="*/ 558800 w 558800"/>
                    <a:gd name="connsiteY7" fmla="*/ 346075 h 371475"/>
                    <a:gd name="connsiteX8" fmla="*/ 349250 w 558800"/>
                    <a:gd name="connsiteY8" fmla="*/ 355600 h 371475"/>
                    <a:gd name="connsiteX9" fmla="*/ 346075 w 558800"/>
                    <a:gd name="connsiteY9" fmla="*/ 349250 h 371475"/>
                    <a:gd name="connsiteX10" fmla="*/ 415925 w 558800"/>
                    <a:gd name="connsiteY10" fmla="*/ 196850 h 371475"/>
                    <a:gd name="connsiteX11" fmla="*/ 412750 w 558800"/>
                    <a:gd name="connsiteY11" fmla="*/ 184150 h 371475"/>
                    <a:gd name="connsiteX12" fmla="*/ 381000 w 558800"/>
                    <a:gd name="connsiteY12" fmla="*/ 187325 h 371475"/>
                    <a:gd name="connsiteX13" fmla="*/ 301625 w 558800"/>
                    <a:gd name="connsiteY13" fmla="*/ 365125 h 371475"/>
                    <a:gd name="connsiteX14" fmla="*/ 28575 w 558800"/>
                    <a:gd name="connsiteY14" fmla="*/ 371475 h 371475"/>
                    <a:gd name="connsiteX15" fmla="*/ 0 w 558800"/>
                    <a:gd name="connsiteY15" fmla="*/ 336550 h 371475"/>
                    <a:gd name="connsiteX16" fmla="*/ 34925 w 558800"/>
                    <a:gd name="connsiteY16" fmla="*/ 266700 h 371475"/>
                    <a:gd name="connsiteX0" fmla="*/ 34925 w 558800"/>
                    <a:gd name="connsiteY0" fmla="*/ 266700 h 371475"/>
                    <a:gd name="connsiteX1" fmla="*/ 203200 w 558800"/>
                    <a:gd name="connsiteY1" fmla="*/ 250825 h 371475"/>
                    <a:gd name="connsiteX2" fmla="*/ 260350 w 558800"/>
                    <a:gd name="connsiteY2" fmla="*/ 73025 h 371475"/>
                    <a:gd name="connsiteX3" fmla="*/ 419100 w 558800"/>
                    <a:gd name="connsiteY3" fmla="*/ 0 h 371475"/>
                    <a:gd name="connsiteX4" fmla="*/ 501650 w 558800"/>
                    <a:gd name="connsiteY4" fmla="*/ 44450 h 371475"/>
                    <a:gd name="connsiteX5" fmla="*/ 536575 w 558800"/>
                    <a:gd name="connsiteY5" fmla="*/ 98425 h 371475"/>
                    <a:gd name="connsiteX6" fmla="*/ 558800 w 558800"/>
                    <a:gd name="connsiteY6" fmla="*/ 346075 h 371475"/>
                    <a:gd name="connsiteX7" fmla="*/ 349250 w 558800"/>
                    <a:gd name="connsiteY7" fmla="*/ 355600 h 371475"/>
                    <a:gd name="connsiteX8" fmla="*/ 346075 w 558800"/>
                    <a:gd name="connsiteY8" fmla="*/ 349250 h 371475"/>
                    <a:gd name="connsiteX9" fmla="*/ 415925 w 558800"/>
                    <a:gd name="connsiteY9" fmla="*/ 196850 h 371475"/>
                    <a:gd name="connsiteX10" fmla="*/ 412750 w 558800"/>
                    <a:gd name="connsiteY10" fmla="*/ 184150 h 371475"/>
                    <a:gd name="connsiteX11" fmla="*/ 381000 w 558800"/>
                    <a:gd name="connsiteY11" fmla="*/ 187325 h 371475"/>
                    <a:gd name="connsiteX12" fmla="*/ 301625 w 558800"/>
                    <a:gd name="connsiteY12" fmla="*/ 365125 h 371475"/>
                    <a:gd name="connsiteX13" fmla="*/ 28575 w 558800"/>
                    <a:gd name="connsiteY13" fmla="*/ 371475 h 371475"/>
                    <a:gd name="connsiteX14" fmla="*/ 0 w 558800"/>
                    <a:gd name="connsiteY14" fmla="*/ 336550 h 371475"/>
                    <a:gd name="connsiteX15" fmla="*/ 34925 w 558800"/>
                    <a:gd name="connsiteY15" fmla="*/ 266700 h 371475"/>
                    <a:gd name="connsiteX0" fmla="*/ 34925 w 558800"/>
                    <a:gd name="connsiteY0" fmla="*/ 222250 h 327025"/>
                    <a:gd name="connsiteX1" fmla="*/ 203200 w 558800"/>
                    <a:gd name="connsiteY1" fmla="*/ 206375 h 327025"/>
                    <a:gd name="connsiteX2" fmla="*/ 260350 w 558800"/>
                    <a:gd name="connsiteY2" fmla="*/ 28575 h 327025"/>
                    <a:gd name="connsiteX3" fmla="*/ 501650 w 558800"/>
                    <a:gd name="connsiteY3" fmla="*/ 0 h 327025"/>
                    <a:gd name="connsiteX4" fmla="*/ 536575 w 558800"/>
                    <a:gd name="connsiteY4" fmla="*/ 53975 h 327025"/>
                    <a:gd name="connsiteX5" fmla="*/ 558800 w 558800"/>
                    <a:gd name="connsiteY5" fmla="*/ 301625 h 327025"/>
                    <a:gd name="connsiteX6" fmla="*/ 349250 w 558800"/>
                    <a:gd name="connsiteY6" fmla="*/ 311150 h 327025"/>
                    <a:gd name="connsiteX7" fmla="*/ 346075 w 558800"/>
                    <a:gd name="connsiteY7" fmla="*/ 304800 h 327025"/>
                    <a:gd name="connsiteX8" fmla="*/ 415925 w 558800"/>
                    <a:gd name="connsiteY8" fmla="*/ 152400 h 327025"/>
                    <a:gd name="connsiteX9" fmla="*/ 412750 w 558800"/>
                    <a:gd name="connsiteY9" fmla="*/ 139700 h 327025"/>
                    <a:gd name="connsiteX10" fmla="*/ 381000 w 558800"/>
                    <a:gd name="connsiteY10" fmla="*/ 142875 h 327025"/>
                    <a:gd name="connsiteX11" fmla="*/ 301625 w 558800"/>
                    <a:gd name="connsiteY11" fmla="*/ 320675 h 327025"/>
                    <a:gd name="connsiteX12" fmla="*/ 28575 w 558800"/>
                    <a:gd name="connsiteY12" fmla="*/ 327025 h 327025"/>
                    <a:gd name="connsiteX13" fmla="*/ 0 w 558800"/>
                    <a:gd name="connsiteY13" fmla="*/ 292100 h 327025"/>
                    <a:gd name="connsiteX14" fmla="*/ 34925 w 558800"/>
                    <a:gd name="connsiteY14" fmla="*/ 222250 h 327025"/>
                    <a:gd name="connsiteX0" fmla="*/ 34925 w 558800"/>
                    <a:gd name="connsiteY0" fmla="*/ 246288 h 351063"/>
                    <a:gd name="connsiteX1" fmla="*/ 203200 w 558800"/>
                    <a:gd name="connsiteY1" fmla="*/ 230413 h 351063"/>
                    <a:gd name="connsiteX2" fmla="*/ 260350 w 558800"/>
                    <a:gd name="connsiteY2" fmla="*/ 52613 h 351063"/>
                    <a:gd name="connsiteX3" fmla="*/ 501650 w 558800"/>
                    <a:gd name="connsiteY3" fmla="*/ 24038 h 351063"/>
                    <a:gd name="connsiteX4" fmla="*/ 536575 w 558800"/>
                    <a:gd name="connsiteY4" fmla="*/ 78013 h 351063"/>
                    <a:gd name="connsiteX5" fmla="*/ 558800 w 558800"/>
                    <a:gd name="connsiteY5" fmla="*/ 325663 h 351063"/>
                    <a:gd name="connsiteX6" fmla="*/ 349250 w 558800"/>
                    <a:gd name="connsiteY6" fmla="*/ 335188 h 351063"/>
                    <a:gd name="connsiteX7" fmla="*/ 346075 w 558800"/>
                    <a:gd name="connsiteY7" fmla="*/ 328838 h 351063"/>
                    <a:gd name="connsiteX8" fmla="*/ 415925 w 558800"/>
                    <a:gd name="connsiteY8" fmla="*/ 176438 h 351063"/>
                    <a:gd name="connsiteX9" fmla="*/ 412750 w 558800"/>
                    <a:gd name="connsiteY9" fmla="*/ 163738 h 351063"/>
                    <a:gd name="connsiteX10" fmla="*/ 381000 w 558800"/>
                    <a:gd name="connsiteY10" fmla="*/ 166913 h 351063"/>
                    <a:gd name="connsiteX11" fmla="*/ 301625 w 558800"/>
                    <a:gd name="connsiteY11" fmla="*/ 344713 h 351063"/>
                    <a:gd name="connsiteX12" fmla="*/ 28575 w 558800"/>
                    <a:gd name="connsiteY12" fmla="*/ 351063 h 351063"/>
                    <a:gd name="connsiteX13" fmla="*/ 0 w 558800"/>
                    <a:gd name="connsiteY13" fmla="*/ 316138 h 351063"/>
                    <a:gd name="connsiteX14" fmla="*/ 34925 w 558800"/>
                    <a:gd name="connsiteY14" fmla="*/ 246288 h 351063"/>
                    <a:gd name="connsiteX0" fmla="*/ 34925 w 558800"/>
                    <a:gd name="connsiteY0" fmla="*/ 263928 h 368703"/>
                    <a:gd name="connsiteX1" fmla="*/ 203200 w 558800"/>
                    <a:gd name="connsiteY1" fmla="*/ 248053 h 368703"/>
                    <a:gd name="connsiteX2" fmla="*/ 260350 w 558800"/>
                    <a:gd name="connsiteY2" fmla="*/ 70253 h 368703"/>
                    <a:gd name="connsiteX3" fmla="*/ 501650 w 558800"/>
                    <a:gd name="connsiteY3" fmla="*/ 41678 h 368703"/>
                    <a:gd name="connsiteX4" fmla="*/ 536575 w 558800"/>
                    <a:gd name="connsiteY4" fmla="*/ 95653 h 368703"/>
                    <a:gd name="connsiteX5" fmla="*/ 558800 w 558800"/>
                    <a:gd name="connsiteY5" fmla="*/ 343303 h 368703"/>
                    <a:gd name="connsiteX6" fmla="*/ 349250 w 558800"/>
                    <a:gd name="connsiteY6" fmla="*/ 352828 h 368703"/>
                    <a:gd name="connsiteX7" fmla="*/ 346075 w 558800"/>
                    <a:gd name="connsiteY7" fmla="*/ 346478 h 368703"/>
                    <a:gd name="connsiteX8" fmla="*/ 415925 w 558800"/>
                    <a:gd name="connsiteY8" fmla="*/ 194078 h 368703"/>
                    <a:gd name="connsiteX9" fmla="*/ 412750 w 558800"/>
                    <a:gd name="connsiteY9" fmla="*/ 181378 h 368703"/>
                    <a:gd name="connsiteX10" fmla="*/ 381000 w 558800"/>
                    <a:gd name="connsiteY10" fmla="*/ 184553 h 368703"/>
                    <a:gd name="connsiteX11" fmla="*/ 301625 w 558800"/>
                    <a:gd name="connsiteY11" fmla="*/ 362353 h 368703"/>
                    <a:gd name="connsiteX12" fmla="*/ 28575 w 558800"/>
                    <a:gd name="connsiteY12" fmla="*/ 368703 h 368703"/>
                    <a:gd name="connsiteX13" fmla="*/ 0 w 558800"/>
                    <a:gd name="connsiteY13" fmla="*/ 333778 h 368703"/>
                    <a:gd name="connsiteX14" fmla="*/ 34925 w 558800"/>
                    <a:gd name="connsiteY14" fmla="*/ 263928 h 368703"/>
                    <a:gd name="connsiteX0" fmla="*/ 34925 w 558800"/>
                    <a:gd name="connsiteY0" fmla="*/ 263928 h 368703"/>
                    <a:gd name="connsiteX1" fmla="*/ 203200 w 558800"/>
                    <a:gd name="connsiteY1" fmla="*/ 248053 h 368703"/>
                    <a:gd name="connsiteX2" fmla="*/ 260350 w 558800"/>
                    <a:gd name="connsiteY2" fmla="*/ 70253 h 368703"/>
                    <a:gd name="connsiteX3" fmla="*/ 501650 w 558800"/>
                    <a:gd name="connsiteY3" fmla="*/ 41678 h 368703"/>
                    <a:gd name="connsiteX4" fmla="*/ 558800 w 558800"/>
                    <a:gd name="connsiteY4" fmla="*/ 343303 h 368703"/>
                    <a:gd name="connsiteX5" fmla="*/ 349250 w 558800"/>
                    <a:gd name="connsiteY5" fmla="*/ 352828 h 368703"/>
                    <a:gd name="connsiteX6" fmla="*/ 346075 w 558800"/>
                    <a:gd name="connsiteY6" fmla="*/ 346478 h 368703"/>
                    <a:gd name="connsiteX7" fmla="*/ 415925 w 558800"/>
                    <a:gd name="connsiteY7" fmla="*/ 194078 h 368703"/>
                    <a:gd name="connsiteX8" fmla="*/ 412750 w 558800"/>
                    <a:gd name="connsiteY8" fmla="*/ 181378 h 368703"/>
                    <a:gd name="connsiteX9" fmla="*/ 381000 w 558800"/>
                    <a:gd name="connsiteY9" fmla="*/ 184553 h 368703"/>
                    <a:gd name="connsiteX10" fmla="*/ 301625 w 558800"/>
                    <a:gd name="connsiteY10" fmla="*/ 362353 h 368703"/>
                    <a:gd name="connsiteX11" fmla="*/ 28575 w 558800"/>
                    <a:gd name="connsiteY11" fmla="*/ 368703 h 368703"/>
                    <a:gd name="connsiteX12" fmla="*/ 0 w 558800"/>
                    <a:gd name="connsiteY12" fmla="*/ 333778 h 368703"/>
                    <a:gd name="connsiteX13" fmla="*/ 34925 w 558800"/>
                    <a:gd name="connsiteY13" fmla="*/ 263928 h 368703"/>
                    <a:gd name="connsiteX0" fmla="*/ 34925 w 558800"/>
                    <a:gd name="connsiteY0" fmla="*/ 263928 h 368703"/>
                    <a:gd name="connsiteX1" fmla="*/ 203200 w 558800"/>
                    <a:gd name="connsiteY1" fmla="*/ 248053 h 368703"/>
                    <a:gd name="connsiteX2" fmla="*/ 260350 w 558800"/>
                    <a:gd name="connsiteY2" fmla="*/ 70253 h 368703"/>
                    <a:gd name="connsiteX3" fmla="*/ 501650 w 558800"/>
                    <a:gd name="connsiteY3" fmla="*/ 41678 h 368703"/>
                    <a:gd name="connsiteX4" fmla="*/ 558800 w 558800"/>
                    <a:gd name="connsiteY4" fmla="*/ 343303 h 368703"/>
                    <a:gd name="connsiteX5" fmla="*/ 349250 w 558800"/>
                    <a:gd name="connsiteY5" fmla="*/ 352828 h 368703"/>
                    <a:gd name="connsiteX6" fmla="*/ 346075 w 558800"/>
                    <a:gd name="connsiteY6" fmla="*/ 346478 h 368703"/>
                    <a:gd name="connsiteX7" fmla="*/ 415925 w 558800"/>
                    <a:gd name="connsiteY7" fmla="*/ 194078 h 368703"/>
                    <a:gd name="connsiteX8" fmla="*/ 412750 w 558800"/>
                    <a:gd name="connsiteY8" fmla="*/ 181378 h 368703"/>
                    <a:gd name="connsiteX9" fmla="*/ 381000 w 558800"/>
                    <a:gd name="connsiteY9" fmla="*/ 184553 h 368703"/>
                    <a:gd name="connsiteX10" fmla="*/ 301625 w 558800"/>
                    <a:gd name="connsiteY10" fmla="*/ 362353 h 368703"/>
                    <a:gd name="connsiteX11" fmla="*/ 28575 w 558800"/>
                    <a:gd name="connsiteY11" fmla="*/ 368703 h 368703"/>
                    <a:gd name="connsiteX12" fmla="*/ 0 w 558800"/>
                    <a:gd name="connsiteY12" fmla="*/ 333778 h 368703"/>
                    <a:gd name="connsiteX13" fmla="*/ 34925 w 558800"/>
                    <a:gd name="connsiteY13" fmla="*/ 263928 h 368703"/>
                    <a:gd name="connsiteX0" fmla="*/ 34925 w 558800"/>
                    <a:gd name="connsiteY0" fmla="*/ 263928 h 368703"/>
                    <a:gd name="connsiteX1" fmla="*/ 203200 w 558800"/>
                    <a:gd name="connsiteY1" fmla="*/ 248053 h 368703"/>
                    <a:gd name="connsiteX2" fmla="*/ 260350 w 558800"/>
                    <a:gd name="connsiteY2" fmla="*/ 70253 h 368703"/>
                    <a:gd name="connsiteX3" fmla="*/ 501650 w 558800"/>
                    <a:gd name="connsiteY3" fmla="*/ 41678 h 368703"/>
                    <a:gd name="connsiteX4" fmla="*/ 558800 w 558800"/>
                    <a:gd name="connsiteY4" fmla="*/ 343303 h 368703"/>
                    <a:gd name="connsiteX5" fmla="*/ 349250 w 558800"/>
                    <a:gd name="connsiteY5" fmla="*/ 352828 h 368703"/>
                    <a:gd name="connsiteX6" fmla="*/ 346075 w 558800"/>
                    <a:gd name="connsiteY6" fmla="*/ 346478 h 368703"/>
                    <a:gd name="connsiteX7" fmla="*/ 415925 w 558800"/>
                    <a:gd name="connsiteY7" fmla="*/ 194078 h 368703"/>
                    <a:gd name="connsiteX8" fmla="*/ 412750 w 558800"/>
                    <a:gd name="connsiteY8" fmla="*/ 181378 h 368703"/>
                    <a:gd name="connsiteX9" fmla="*/ 381000 w 558800"/>
                    <a:gd name="connsiteY9" fmla="*/ 184553 h 368703"/>
                    <a:gd name="connsiteX10" fmla="*/ 301625 w 558800"/>
                    <a:gd name="connsiteY10" fmla="*/ 362353 h 368703"/>
                    <a:gd name="connsiteX11" fmla="*/ 28575 w 558800"/>
                    <a:gd name="connsiteY11" fmla="*/ 368703 h 368703"/>
                    <a:gd name="connsiteX12" fmla="*/ 0 w 558800"/>
                    <a:gd name="connsiteY12" fmla="*/ 333778 h 368703"/>
                    <a:gd name="connsiteX13" fmla="*/ 34925 w 558800"/>
                    <a:gd name="connsiteY13" fmla="*/ 263928 h 368703"/>
                    <a:gd name="connsiteX0" fmla="*/ 34925 w 558800"/>
                    <a:gd name="connsiteY0" fmla="*/ 263928 h 368703"/>
                    <a:gd name="connsiteX1" fmla="*/ 203200 w 558800"/>
                    <a:gd name="connsiteY1" fmla="*/ 248053 h 368703"/>
                    <a:gd name="connsiteX2" fmla="*/ 260350 w 558800"/>
                    <a:gd name="connsiteY2" fmla="*/ 70253 h 368703"/>
                    <a:gd name="connsiteX3" fmla="*/ 501650 w 558800"/>
                    <a:gd name="connsiteY3" fmla="*/ 41678 h 368703"/>
                    <a:gd name="connsiteX4" fmla="*/ 558800 w 558800"/>
                    <a:gd name="connsiteY4" fmla="*/ 343303 h 368703"/>
                    <a:gd name="connsiteX5" fmla="*/ 349250 w 558800"/>
                    <a:gd name="connsiteY5" fmla="*/ 352828 h 368703"/>
                    <a:gd name="connsiteX6" fmla="*/ 346075 w 558800"/>
                    <a:gd name="connsiteY6" fmla="*/ 346478 h 368703"/>
                    <a:gd name="connsiteX7" fmla="*/ 415925 w 558800"/>
                    <a:gd name="connsiteY7" fmla="*/ 194078 h 368703"/>
                    <a:gd name="connsiteX8" fmla="*/ 381000 w 558800"/>
                    <a:gd name="connsiteY8" fmla="*/ 184553 h 368703"/>
                    <a:gd name="connsiteX9" fmla="*/ 301625 w 558800"/>
                    <a:gd name="connsiteY9" fmla="*/ 362353 h 368703"/>
                    <a:gd name="connsiteX10" fmla="*/ 28575 w 558800"/>
                    <a:gd name="connsiteY10" fmla="*/ 368703 h 368703"/>
                    <a:gd name="connsiteX11" fmla="*/ 0 w 558800"/>
                    <a:gd name="connsiteY11" fmla="*/ 333778 h 368703"/>
                    <a:gd name="connsiteX12" fmla="*/ 34925 w 558800"/>
                    <a:gd name="connsiteY12" fmla="*/ 263928 h 368703"/>
                    <a:gd name="connsiteX0" fmla="*/ 6350 w 530225"/>
                    <a:gd name="connsiteY0" fmla="*/ 263928 h 368703"/>
                    <a:gd name="connsiteX1" fmla="*/ 174625 w 530225"/>
                    <a:gd name="connsiteY1" fmla="*/ 248053 h 368703"/>
                    <a:gd name="connsiteX2" fmla="*/ 231775 w 530225"/>
                    <a:gd name="connsiteY2" fmla="*/ 70253 h 368703"/>
                    <a:gd name="connsiteX3" fmla="*/ 473075 w 530225"/>
                    <a:gd name="connsiteY3" fmla="*/ 41678 h 368703"/>
                    <a:gd name="connsiteX4" fmla="*/ 530225 w 530225"/>
                    <a:gd name="connsiteY4" fmla="*/ 343303 h 368703"/>
                    <a:gd name="connsiteX5" fmla="*/ 320675 w 530225"/>
                    <a:gd name="connsiteY5" fmla="*/ 352828 h 368703"/>
                    <a:gd name="connsiteX6" fmla="*/ 317500 w 530225"/>
                    <a:gd name="connsiteY6" fmla="*/ 346478 h 368703"/>
                    <a:gd name="connsiteX7" fmla="*/ 387350 w 530225"/>
                    <a:gd name="connsiteY7" fmla="*/ 194078 h 368703"/>
                    <a:gd name="connsiteX8" fmla="*/ 352425 w 530225"/>
                    <a:gd name="connsiteY8" fmla="*/ 184553 h 368703"/>
                    <a:gd name="connsiteX9" fmla="*/ 273050 w 530225"/>
                    <a:gd name="connsiteY9" fmla="*/ 362353 h 368703"/>
                    <a:gd name="connsiteX10" fmla="*/ 0 w 530225"/>
                    <a:gd name="connsiteY10" fmla="*/ 368703 h 368703"/>
                    <a:gd name="connsiteX11" fmla="*/ 6350 w 530225"/>
                    <a:gd name="connsiteY11" fmla="*/ 263928 h 368703"/>
                    <a:gd name="connsiteX0" fmla="*/ 28984 w 552859"/>
                    <a:gd name="connsiteY0" fmla="*/ 263928 h 368703"/>
                    <a:gd name="connsiteX1" fmla="*/ 197259 w 552859"/>
                    <a:gd name="connsiteY1" fmla="*/ 248053 h 368703"/>
                    <a:gd name="connsiteX2" fmla="*/ 254409 w 552859"/>
                    <a:gd name="connsiteY2" fmla="*/ 70253 h 368703"/>
                    <a:gd name="connsiteX3" fmla="*/ 495709 w 552859"/>
                    <a:gd name="connsiteY3" fmla="*/ 41678 h 368703"/>
                    <a:gd name="connsiteX4" fmla="*/ 552859 w 552859"/>
                    <a:gd name="connsiteY4" fmla="*/ 343303 h 368703"/>
                    <a:gd name="connsiteX5" fmla="*/ 343309 w 552859"/>
                    <a:gd name="connsiteY5" fmla="*/ 352828 h 368703"/>
                    <a:gd name="connsiteX6" fmla="*/ 340134 w 552859"/>
                    <a:gd name="connsiteY6" fmla="*/ 346478 h 368703"/>
                    <a:gd name="connsiteX7" fmla="*/ 409984 w 552859"/>
                    <a:gd name="connsiteY7" fmla="*/ 194078 h 368703"/>
                    <a:gd name="connsiteX8" fmla="*/ 375059 w 552859"/>
                    <a:gd name="connsiteY8" fmla="*/ 184553 h 368703"/>
                    <a:gd name="connsiteX9" fmla="*/ 295684 w 552859"/>
                    <a:gd name="connsiteY9" fmla="*/ 362353 h 368703"/>
                    <a:gd name="connsiteX10" fmla="*/ 22634 w 552859"/>
                    <a:gd name="connsiteY10" fmla="*/ 368703 h 368703"/>
                    <a:gd name="connsiteX11" fmla="*/ 28984 w 552859"/>
                    <a:gd name="connsiteY11" fmla="*/ 263928 h 368703"/>
                    <a:gd name="connsiteX0" fmla="*/ 35058 w 558933"/>
                    <a:gd name="connsiteY0" fmla="*/ 263928 h 369620"/>
                    <a:gd name="connsiteX1" fmla="*/ 203333 w 558933"/>
                    <a:gd name="connsiteY1" fmla="*/ 248053 h 369620"/>
                    <a:gd name="connsiteX2" fmla="*/ 260483 w 558933"/>
                    <a:gd name="connsiteY2" fmla="*/ 70253 h 369620"/>
                    <a:gd name="connsiteX3" fmla="*/ 501783 w 558933"/>
                    <a:gd name="connsiteY3" fmla="*/ 41678 h 369620"/>
                    <a:gd name="connsiteX4" fmla="*/ 558933 w 558933"/>
                    <a:gd name="connsiteY4" fmla="*/ 343303 h 369620"/>
                    <a:gd name="connsiteX5" fmla="*/ 349383 w 558933"/>
                    <a:gd name="connsiteY5" fmla="*/ 352828 h 369620"/>
                    <a:gd name="connsiteX6" fmla="*/ 346208 w 558933"/>
                    <a:gd name="connsiteY6" fmla="*/ 346478 h 369620"/>
                    <a:gd name="connsiteX7" fmla="*/ 416058 w 558933"/>
                    <a:gd name="connsiteY7" fmla="*/ 194078 h 369620"/>
                    <a:gd name="connsiteX8" fmla="*/ 381133 w 558933"/>
                    <a:gd name="connsiteY8" fmla="*/ 184553 h 369620"/>
                    <a:gd name="connsiteX9" fmla="*/ 301758 w 558933"/>
                    <a:gd name="connsiteY9" fmla="*/ 362353 h 369620"/>
                    <a:gd name="connsiteX10" fmla="*/ 28708 w 558933"/>
                    <a:gd name="connsiteY10" fmla="*/ 368703 h 369620"/>
                    <a:gd name="connsiteX11" fmla="*/ 35058 w 558933"/>
                    <a:gd name="connsiteY11" fmla="*/ 263928 h 369620"/>
                    <a:gd name="connsiteX0" fmla="*/ 38101 w 561976"/>
                    <a:gd name="connsiteY0" fmla="*/ 263928 h 368703"/>
                    <a:gd name="connsiteX1" fmla="*/ 206376 w 561976"/>
                    <a:gd name="connsiteY1" fmla="*/ 248053 h 368703"/>
                    <a:gd name="connsiteX2" fmla="*/ 263526 w 561976"/>
                    <a:gd name="connsiteY2" fmla="*/ 70253 h 368703"/>
                    <a:gd name="connsiteX3" fmla="*/ 504826 w 561976"/>
                    <a:gd name="connsiteY3" fmla="*/ 41678 h 368703"/>
                    <a:gd name="connsiteX4" fmla="*/ 561976 w 561976"/>
                    <a:gd name="connsiteY4" fmla="*/ 343303 h 368703"/>
                    <a:gd name="connsiteX5" fmla="*/ 352426 w 561976"/>
                    <a:gd name="connsiteY5" fmla="*/ 352828 h 368703"/>
                    <a:gd name="connsiteX6" fmla="*/ 349251 w 561976"/>
                    <a:gd name="connsiteY6" fmla="*/ 346478 h 368703"/>
                    <a:gd name="connsiteX7" fmla="*/ 419101 w 561976"/>
                    <a:gd name="connsiteY7" fmla="*/ 194078 h 368703"/>
                    <a:gd name="connsiteX8" fmla="*/ 384176 w 561976"/>
                    <a:gd name="connsiteY8" fmla="*/ 184553 h 368703"/>
                    <a:gd name="connsiteX9" fmla="*/ 304801 w 561976"/>
                    <a:gd name="connsiteY9" fmla="*/ 362353 h 368703"/>
                    <a:gd name="connsiteX10" fmla="*/ 31751 w 561976"/>
                    <a:gd name="connsiteY10" fmla="*/ 368703 h 368703"/>
                    <a:gd name="connsiteX11" fmla="*/ 38101 w 561976"/>
                    <a:gd name="connsiteY11" fmla="*/ 263928 h 368703"/>
                    <a:gd name="connsiteX0" fmla="*/ 35796 w 559671"/>
                    <a:gd name="connsiteY0" fmla="*/ 263928 h 368703"/>
                    <a:gd name="connsiteX1" fmla="*/ 204071 w 559671"/>
                    <a:gd name="connsiteY1" fmla="*/ 248053 h 368703"/>
                    <a:gd name="connsiteX2" fmla="*/ 261221 w 559671"/>
                    <a:gd name="connsiteY2" fmla="*/ 70253 h 368703"/>
                    <a:gd name="connsiteX3" fmla="*/ 502521 w 559671"/>
                    <a:gd name="connsiteY3" fmla="*/ 41678 h 368703"/>
                    <a:gd name="connsiteX4" fmla="*/ 559671 w 559671"/>
                    <a:gd name="connsiteY4" fmla="*/ 343303 h 368703"/>
                    <a:gd name="connsiteX5" fmla="*/ 350121 w 559671"/>
                    <a:gd name="connsiteY5" fmla="*/ 352828 h 368703"/>
                    <a:gd name="connsiteX6" fmla="*/ 346946 w 559671"/>
                    <a:gd name="connsiteY6" fmla="*/ 346478 h 368703"/>
                    <a:gd name="connsiteX7" fmla="*/ 416796 w 559671"/>
                    <a:gd name="connsiteY7" fmla="*/ 194078 h 368703"/>
                    <a:gd name="connsiteX8" fmla="*/ 381871 w 559671"/>
                    <a:gd name="connsiteY8" fmla="*/ 184553 h 368703"/>
                    <a:gd name="connsiteX9" fmla="*/ 302496 w 559671"/>
                    <a:gd name="connsiteY9" fmla="*/ 362353 h 368703"/>
                    <a:gd name="connsiteX10" fmla="*/ 29446 w 559671"/>
                    <a:gd name="connsiteY10" fmla="*/ 368703 h 368703"/>
                    <a:gd name="connsiteX11" fmla="*/ 35796 w 559671"/>
                    <a:gd name="connsiteY11" fmla="*/ 263928 h 368703"/>
                    <a:gd name="connsiteX0" fmla="*/ 33802 w 557677"/>
                    <a:gd name="connsiteY0" fmla="*/ 263928 h 368703"/>
                    <a:gd name="connsiteX1" fmla="*/ 202077 w 557677"/>
                    <a:gd name="connsiteY1" fmla="*/ 248053 h 368703"/>
                    <a:gd name="connsiteX2" fmla="*/ 259227 w 557677"/>
                    <a:gd name="connsiteY2" fmla="*/ 70253 h 368703"/>
                    <a:gd name="connsiteX3" fmla="*/ 500527 w 557677"/>
                    <a:gd name="connsiteY3" fmla="*/ 41678 h 368703"/>
                    <a:gd name="connsiteX4" fmla="*/ 557677 w 557677"/>
                    <a:gd name="connsiteY4" fmla="*/ 343303 h 368703"/>
                    <a:gd name="connsiteX5" fmla="*/ 348127 w 557677"/>
                    <a:gd name="connsiteY5" fmla="*/ 352828 h 368703"/>
                    <a:gd name="connsiteX6" fmla="*/ 344952 w 557677"/>
                    <a:gd name="connsiteY6" fmla="*/ 346478 h 368703"/>
                    <a:gd name="connsiteX7" fmla="*/ 414802 w 557677"/>
                    <a:gd name="connsiteY7" fmla="*/ 194078 h 368703"/>
                    <a:gd name="connsiteX8" fmla="*/ 379877 w 557677"/>
                    <a:gd name="connsiteY8" fmla="*/ 184553 h 368703"/>
                    <a:gd name="connsiteX9" fmla="*/ 300502 w 557677"/>
                    <a:gd name="connsiteY9" fmla="*/ 362353 h 368703"/>
                    <a:gd name="connsiteX10" fmla="*/ 27452 w 557677"/>
                    <a:gd name="connsiteY10" fmla="*/ 368703 h 368703"/>
                    <a:gd name="connsiteX11" fmla="*/ 33802 w 557677"/>
                    <a:gd name="connsiteY11" fmla="*/ 263928 h 368703"/>
                    <a:gd name="connsiteX0" fmla="*/ 32812 w 556687"/>
                    <a:gd name="connsiteY0" fmla="*/ 263928 h 368703"/>
                    <a:gd name="connsiteX1" fmla="*/ 201087 w 556687"/>
                    <a:gd name="connsiteY1" fmla="*/ 248053 h 368703"/>
                    <a:gd name="connsiteX2" fmla="*/ 258237 w 556687"/>
                    <a:gd name="connsiteY2" fmla="*/ 70253 h 368703"/>
                    <a:gd name="connsiteX3" fmla="*/ 499537 w 556687"/>
                    <a:gd name="connsiteY3" fmla="*/ 41678 h 368703"/>
                    <a:gd name="connsiteX4" fmla="*/ 556687 w 556687"/>
                    <a:gd name="connsiteY4" fmla="*/ 343303 h 368703"/>
                    <a:gd name="connsiteX5" fmla="*/ 347137 w 556687"/>
                    <a:gd name="connsiteY5" fmla="*/ 352828 h 368703"/>
                    <a:gd name="connsiteX6" fmla="*/ 343962 w 556687"/>
                    <a:gd name="connsiteY6" fmla="*/ 346478 h 368703"/>
                    <a:gd name="connsiteX7" fmla="*/ 413812 w 556687"/>
                    <a:gd name="connsiteY7" fmla="*/ 194078 h 368703"/>
                    <a:gd name="connsiteX8" fmla="*/ 378887 w 556687"/>
                    <a:gd name="connsiteY8" fmla="*/ 184553 h 368703"/>
                    <a:gd name="connsiteX9" fmla="*/ 299512 w 556687"/>
                    <a:gd name="connsiteY9" fmla="*/ 362353 h 368703"/>
                    <a:gd name="connsiteX10" fmla="*/ 26462 w 556687"/>
                    <a:gd name="connsiteY10" fmla="*/ 368703 h 368703"/>
                    <a:gd name="connsiteX11" fmla="*/ 32812 w 556687"/>
                    <a:gd name="connsiteY11" fmla="*/ 263928 h 368703"/>
                    <a:gd name="connsiteX0" fmla="*/ 32812 w 556687"/>
                    <a:gd name="connsiteY0" fmla="*/ 263928 h 368703"/>
                    <a:gd name="connsiteX1" fmla="*/ 201087 w 556687"/>
                    <a:gd name="connsiteY1" fmla="*/ 248053 h 368703"/>
                    <a:gd name="connsiteX2" fmla="*/ 258237 w 556687"/>
                    <a:gd name="connsiteY2" fmla="*/ 70253 h 368703"/>
                    <a:gd name="connsiteX3" fmla="*/ 499537 w 556687"/>
                    <a:gd name="connsiteY3" fmla="*/ 41678 h 368703"/>
                    <a:gd name="connsiteX4" fmla="*/ 556687 w 556687"/>
                    <a:gd name="connsiteY4" fmla="*/ 343303 h 368703"/>
                    <a:gd name="connsiteX5" fmla="*/ 347137 w 556687"/>
                    <a:gd name="connsiteY5" fmla="*/ 352828 h 368703"/>
                    <a:gd name="connsiteX6" fmla="*/ 413812 w 556687"/>
                    <a:gd name="connsiteY6" fmla="*/ 194078 h 368703"/>
                    <a:gd name="connsiteX7" fmla="*/ 378887 w 556687"/>
                    <a:gd name="connsiteY7" fmla="*/ 184553 h 368703"/>
                    <a:gd name="connsiteX8" fmla="*/ 299512 w 556687"/>
                    <a:gd name="connsiteY8" fmla="*/ 362353 h 368703"/>
                    <a:gd name="connsiteX9" fmla="*/ 26462 w 556687"/>
                    <a:gd name="connsiteY9" fmla="*/ 368703 h 368703"/>
                    <a:gd name="connsiteX10" fmla="*/ 32812 w 556687"/>
                    <a:gd name="connsiteY10" fmla="*/ 263928 h 368703"/>
                    <a:gd name="connsiteX0" fmla="*/ 32812 w 556687"/>
                    <a:gd name="connsiteY0" fmla="*/ 263928 h 368703"/>
                    <a:gd name="connsiteX1" fmla="*/ 201087 w 556687"/>
                    <a:gd name="connsiteY1" fmla="*/ 248053 h 368703"/>
                    <a:gd name="connsiteX2" fmla="*/ 258237 w 556687"/>
                    <a:gd name="connsiteY2" fmla="*/ 70253 h 368703"/>
                    <a:gd name="connsiteX3" fmla="*/ 499537 w 556687"/>
                    <a:gd name="connsiteY3" fmla="*/ 41678 h 368703"/>
                    <a:gd name="connsiteX4" fmla="*/ 556687 w 556687"/>
                    <a:gd name="connsiteY4" fmla="*/ 343303 h 368703"/>
                    <a:gd name="connsiteX5" fmla="*/ 347137 w 556687"/>
                    <a:gd name="connsiteY5" fmla="*/ 352828 h 368703"/>
                    <a:gd name="connsiteX6" fmla="*/ 413812 w 556687"/>
                    <a:gd name="connsiteY6" fmla="*/ 194078 h 368703"/>
                    <a:gd name="connsiteX7" fmla="*/ 378887 w 556687"/>
                    <a:gd name="connsiteY7" fmla="*/ 184553 h 368703"/>
                    <a:gd name="connsiteX8" fmla="*/ 299512 w 556687"/>
                    <a:gd name="connsiteY8" fmla="*/ 362353 h 368703"/>
                    <a:gd name="connsiteX9" fmla="*/ 26462 w 556687"/>
                    <a:gd name="connsiteY9" fmla="*/ 368703 h 368703"/>
                    <a:gd name="connsiteX10" fmla="*/ 32812 w 556687"/>
                    <a:gd name="connsiteY10" fmla="*/ 263928 h 368703"/>
                    <a:gd name="connsiteX0" fmla="*/ 32812 w 556687"/>
                    <a:gd name="connsiteY0" fmla="*/ 263928 h 368703"/>
                    <a:gd name="connsiteX1" fmla="*/ 201087 w 556687"/>
                    <a:gd name="connsiteY1" fmla="*/ 248053 h 368703"/>
                    <a:gd name="connsiteX2" fmla="*/ 258237 w 556687"/>
                    <a:gd name="connsiteY2" fmla="*/ 70253 h 368703"/>
                    <a:gd name="connsiteX3" fmla="*/ 499537 w 556687"/>
                    <a:gd name="connsiteY3" fmla="*/ 41678 h 368703"/>
                    <a:gd name="connsiteX4" fmla="*/ 556687 w 556687"/>
                    <a:gd name="connsiteY4" fmla="*/ 343303 h 368703"/>
                    <a:gd name="connsiteX5" fmla="*/ 347137 w 556687"/>
                    <a:gd name="connsiteY5" fmla="*/ 352828 h 368703"/>
                    <a:gd name="connsiteX6" fmla="*/ 413812 w 556687"/>
                    <a:gd name="connsiteY6" fmla="*/ 194078 h 368703"/>
                    <a:gd name="connsiteX7" fmla="*/ 378887 w 556687"/>
                    <a:gd name="connsiteY7" fmla="*/ 184553 h 368703"/>
                    <a:gd name="connsiteX8" fmla="*/ 299512 w 556687"/>
                    <a:gd name="connsiteY8" fmla="*/ 362353 h 368703"/>
                    <a:gd name="connsiteX9" fmla="*/ 26462 w 556687"/>
                    <a:gd name="connsiteY9" fmla="*/ 368703 h 368703"/>
                    <a:gd name="connsiteX10" fmla="*/ 32812 w 556687"/>
                    <a:gd name="connsiteY10" fmla="*/ 263928 h 368703"/>
                    <a:gd name="connsiteX0" fmla="*/ 32812 w 556687"/>
                    <a:gd name="connsiteY0" fmla="*/ 263928 h 368703"/>
                    <a:gd name="connsiteX1" fmla="*/ 201087 w 556687"/>
                    <a:gd name="connsiteY1" fmla="*/ 248053 h 368703"/>
                    <a:gd name="connsiteX2" fmla="*/ 258237 w 556687"/>
                    <a:gd name="connsiteY2" fmla="*/ 70253 h 368703"/>
                    <a:gd name="connsiteX3" fmla="*/ 499537 w 556687"/>
                    <a:gd name="connsiteY3" fmla="*/ 41678 h 368703"/>
                    <a:gd name="connsiteX4" fmla="*/ 556687 w 556687"/>
                    <a:gd name="connsiteY4" fmla="*/ 343303 h 368703"/>
                    <a:gd name="connsiteX5" fmla="*/ 347137 w 556687"/>
                    <a:gd name="connsiteY5" fmla="*/ 352828 h 368703"/>
                    <a:gd name="connsiteX6" fmla="*/ 413812 w 556687"/>
                    <a:gd name="connsiteY6" fmla="*/ 194078 h 368703"/>
                    <a:gd name="connsiteX7" fmla="*/ 378887 w 556687"/>
                    <a:gd name="connsiteY7" fmla="*/ 184553 h 368703"/>
                    <a:gd name="connsiteX8" fmla="*/ 299512 w 556687"/>
                    <a:gd name="connsiteY8" fmla="*/ 362353 h 368703"/>
                    <a:gd name="connsiteX9" fmla="*/ 26462 w 556687"/>
                    <a:gd name="connsiteY9" fmla="*/ 368703 h 368703"/>
                    <a:gd name="connsiteX10" fmla="*/ 32812 w 556687"/>
                    <a:gd name="connsiteY10" fmla="*/ 263928 h 368703"/>
                    <a:gd name="connsiteX0" fmla="*/ 32812 w 556687"/>
                    <a:gd name="connsiteY0" fmla="*/ 260508 h 365283"/>
                    <a:gd name="connsiteX1" fmla="*/ 201087 w 556687"/>
                    <a:gd name="connsiteY1" fmla="*/ 244633 h 365283"/>
                    <a:gd name="connsiteX2" fmla="*/ 258237 w 556687"/>
                    <a:gd name="connsiteY2" fmla="*/ 66833 h 365283"/>
                    <a:gd name="connsiteX3" fmla="*/ 426512 w 556687"/>
                    <a:gd name="connsiteY3" fmla="*/ 7302 h 365283"/>
                    <a:gd name="connsiteX4" fmla="*/ 499537 w 556687"/>
                    <a:gd name="connsiteY4" fmla="*/ 38258 h 365283"/>
                    <a:gd name="connsiteX5" fmla="*/ 556687 w 556687"/>
                    <a:gd name="connsiteY5" fmla="*/ 339883 h 365283"/>
                    <a:gd name="connsiteX6" fmla="*/ 347137 w 556687"/>
                    <a:gd name="connsiteY6" fmla="*/ 349408 h 365283"/>
                    <a:gd name="connsiteX7" fmla="*/ 413812 w 556687"/>
                    <a:gd name="connsiteY7" fmla="*/ 190658 h 365283"/>
                    <a:gd name="connsiteX8" fmla="*/ 378887 w 556687"/>
                    <a:gd name="connsiteY8" fmla="*/ 181133 h 365283"/>
                    <a:gd name="connsiteX9" fmla="*/ 299512 w 556687"/>
                    <a:gd name="connsiteY9" fmla="*/ 358933 h 365283"/>
                    <a:gd name="connsiteX10" fmla="*/ 26462 w 556687"/>
                    <a:gd name="connsiteY10" fmla="*/ 365283 h 365283"/>
                    <a:gd name="connsiteX11" fmla="*/ 32812 w 556687"/>
                    <a:gd name="connsiteY11" fmla="*/ 260508 h 365283"/>
                    <a:gd name="connsiteX0" fmla="*/ 32812 w 557953"/>
                    <a:gd name="connsiteY0" fmla="*/ 268685 h 373460"/>
                    <a:gd name="connsiteX1" fmla="*/ 201087 w 557953"/>
                    <a:gd name="connsiteY1" fmla="*/ 252810 h 373460"/>
                    <a:gd name="connsiteX2" fmla="*/ 258237 w 557953"/>
                    <a:gd name="connsiteY2" fmla="*/ 75010 h 373460"/>
                    <a:gd name="connsiteX3" fmla="*/ 426512 w 557953"/>
                    <a:gd name="connsiteY3" fmla="*/ 15479 h 373460"/>
                    <a:gd name="connsiteX4" fmla="*/ 556687 w 557953"/>
                    <a:gd name="connsiteY4" fmla="*/ 348060 h 373460"/>
                    <a:gd name="connsiteX5" fmla="*/ 347137 w 557953"/>
                    <a:gd name="connsiteY5" fmla="*/ 357585 h 373460"/>
                    <a:gd name="connsiteX6" fmla="*/ 413812 w 557953"/>
                    <a:gd name="connsiteY6" fmla="*/ 198835 h 373460"/>
                    <a:gd name="connsiteX7" fmla="*/ 378887 w 557953"/>
                    <a:gd name="connsiteY7" fmla="*/ 189310 h 373460"/>
                    <a:gd name="connsiteX8" fmla="*/ 299512 w 557953"/>
                    <a:gd name="connsiteY8" fmla="*/ 367110 h 373460"/>
                    <a:gd name="connsiteX9" fmla="*/ 26462 w 557953"/>
                    <a:gd name="connsiteY9" fmla="*/ 373460 h 373460"/>
                    <a:gd name="connsiteX10" fmla="*/ 32812 w 557953"/>
                    <a:gd name="connsiteY10" fmla="*/ 268685 h 373460"/>
                    <a:gd name="connsiteX0" fmla="*/ 32812 w 557953"/>
                    <a:gd name="connsiteY0" fmla="*/ 260976 h 365751"/>
                    <a:gd name="connsiteX1" fmla="*/ 201087 w 557953"/>
                    <a:gd name="connsiteY1" fmla="*/ 245101 h 365751"/>
                    <a:gd name="connsiteX2" fmla="*/ 258237 w 557953"/>
                    <a:gd name="connsiteY2" fmla="*/ 67301 h 365751"/>
                    <a:gd name="connsiteX3" fmla="*/ 426512 w 557953"/>
                    <a:gd name="connsiteY3" fmla="*/ 7770 h 365751"/>
                    <a:gd name="connsiteX4" fmla="*/ 556687 w 557953"/>
                    <a:gd name="connsiteY4" fmla="*/ 340351 h 365751"/>
                    <a:gd name="connsiteX5" fmla="*/ 347137 w 557953"/>
                    <a:gd name="connsiteY5" fmla="*/ 349876 h 365751"/>
                    <a:gd name="connsiteX6" fmla="*/ 413812 w 557953"/>
                    <a:gd name="connsiteY6" fmla="*/ 191126 h 365751"/>
                    <a:gd name="connsiteX7" fmla="*/ 378887 w 557953"/>
                    <a:gd name="connsiteY7" fmla="*/ 181601 h 365751"/>
                    <a:gd name="connsiteX8" fmla="*/ 299512 w 557953"/>
                    <a:gd name="connsiteY8" fmla="*/ 359401 h 365751"/>
                    <a:gd name="connsiteX9" fmla="*/ 26462 w 557953"/>
                    <a:gd name="connsiteY9" fmla="*/ 365751 h 365751"/>
                    <a:gd name="connsiteX10" fmla="*/ 32812 w 557953"/>
                    <a:gd name="connsiteY10" fmla="*/ 260976 h 365751"/>
                    <a:gd name="connsiteX0" fmla="*/ 32812 w 558115"/>
                    <a:gd name="connsiteY0" fmla="*/ 269583 h 374358"/>
                    <a:gd name="connsiteX1" fmla="*/ 201087 w 558115"/>
                    <a:gd name="connsiteY1" fmla="*/ 253708 h 374358"/>
                    <a:gd name="connsiteX2" fmla="*/ 258237 w 558115"/>
                    <a:gd name="connsiteY2" fmla="*/ 75908 h 374358"/>
                    <a:gd name="connsiteX3" fmla="*/ 438418 w 558115"/>
                    <a:gd name="connsiteY3" fmla="*/ 6852 h 374358"/>
                    <a:gd name="connsiteX4" fmla="*/ 556687 w 558115"/>
                    <a:gd name="connsiteY4" fmla="*/ 348958 h 374358"/>
                    <a:gd name="connsiteX5" fmla="*/ 347137 w 558115"/>
                    <a:gd name="connsiteY5" fmla="*/ 358483 h 374358"/>
                    <a:gd name="connsiteX6" fmla="*/ 413812 w 558115"/>
                    <a:gd name="connsiteY6" fmla="*/ 199733 h 374358"/>
                    <a:gd name="connsiteX7" fmla="*/ 378887 w 558115"/>
                    <a:gd name="connsiteY7" fmla="*/ 190208 h 374358"/>
                    <a:gd name="connsiteX8" fmla="*/ 299512 w 558115"/>
                    <a:gd name="connsiteY8" fmla="*/ 368008 h 374358"/>
                    <a:gd name="connsiteX9" fmla="*/ 26462 w 558115"/>
                    <a:gd name="connsiteY9" fmla="*/ 374358 h 374358"/>
                    <a:gd name="connsiteX10" fmla="*/ 32812 w 558115"/>
                    <a:gd name="connsiteY10" fmla="*/ 269583 h 374358"/>
                    <a:gd name="connsiteX0" fmla="*/ 32812 w 558706"/>
                    <a:gd name="connsiteY0" fmla="*/ 269583 h 374358"/>
                    <a:gd name="connsiteX1" fmla="*/ 201087 w 558706"/>
                    <a:gd name="connsiteY1" fmla="*/ 253708 h 374358"/>
                    <a:gd name="connsiteX2" fmla="*/ 258237 w 558706"/>
                    <a:gd name="connsiteY2" fmla="*/ 75908 h 374358"/>
                    <a:gd name="connsiteX3" fmla="*/ 438418 w 558706"/>
                    <a:gd name="connsiteY3" fmla="*/ 6852 h 374358"/>
                    <a:gd name="connsiteX4" fmla="*/ 556687 w 558706"/>
                    <a:gd name="connsiteY4" fmla="*/ 348958 h 374358"/>
                    <a:gd name="connsiteX5" fmla="*/ 347137 w 558706"/>
                    <a:gd name="connsiteY5" fmla="*/ 358483 h 374358"/>
                    <a:gd name="connsiteX6" fmla="*/ 413812 w 558706"/>
                    <a:gd name="connsiteY6" fmla="*/ 199733 h 374358"/>
                    <a:gd name="connsiteX7" fmla="*/ 378887 w 558706"/>
                    <a:gd name="connsiteY7" fmla="*/ 190208 h 374358"/>
                    <a:gd name="connsiteX8" fmla="*/ 299512 w 558706"/>
                    <a:gd name="connsiteY8" fmla="*/ 368008 h 374358"/>
                    <a:gd name="connsiteX9" fmla="*/ 26462 w 558706"/>
                    <a:gd name="connsiteY9" fmla="*/ 374358 h 374358"/>
                    <a:gd name="connsiteX10" fmla="*/ 32812 w 558706"/>
                    <a:gd name="connsiteY10" fmla="*/ 269583 h 374358"/>
                    <a:gd name="connsiteX0" fmla="*/ 32812 w 558706"/>
                    <a:gd name="connsiteY0" fmla="*/ 265576 h 370351"/>
                    <a:gd name="connsiteX1" fmla="*/ 201087 w 558706"/>
                    <a:gd name="connsiteY1" fmla="*/ 249701 h 370351"/>
                    <a:gd name="connsiteX2" fmla="*/ 258237 w 558706"/>
                    <a:gd name="connsiteY2" fmla="*/ 71901 h 370351"/>
                    <a:gd name="connsiteX3" fmla="*/ 438418 w 558706"/>
                    <a:gd name="connsiteY3" fmla="*/ 2845 h 370351"/>
                    <a:gd name="connsiteX4" fmla="*/ 556687 w 558706"/>
                    <a:gd name="connsiteY4" fmla="*/ 344951 h 370351"/>
                    <a:gd name="connsiteX5" fmla="*/ 347137 w 558706"/>
                    <a:gd name="connsiteY5" fmla="*/ 354476 h 370351"/>
                    <a:gd name="connsiteX6" fmla="*/ 413812 w 558706"/>
                    <a:gd name="connsiteY6" fmla="*/ 195726 h 370351"/>
                    <a:gd name="connsiteX7" fmla="*/ 378887 w 558706"/>
                    <a:gd name="connsiteY7" fmla="*/ 186201 h 370351"/>
                    <a:gd name="connsiteX8" fmla="*/ 299512 w 558706"/>
                    <a:gd name="connsiteY8" fmla="*/ 364001 h 370351"/>
                    <a:gd name="connsiteX9" fmla="*/ 26462 w 558706"/>
                    <a:gd name="connsiteY9" fmla="*/ 370351 h 370351"/>
                    <a:gd name="connsiteX10" fmla="*/ 32812 w 558706"/>
                    <a:gd name="connsiteY10" fmla="*/ 265576 h 370351"/>
                    <a:gd name="connsiteX0" fmla="*/ 32812 w 558706"/>
                    <a:gd name="connsiteY0" fmla="*/ 268667 h 373442"/>
                    <a:gd name="connsiteX1" fmla="*/ 201087 w 558706"/>
                    <a:gd name="connsiteY1" fmla="*/ 252792 h 373442"/>
                    <a:gd name="connsiteX2" fmla="*/ 258237 w 558706"/>
                    <a:gd name="connsiteY2" fmla="*/ 74992 h 373442"/>
                    <a:gd name="connsiteX3" fmla="*/ 438418 w 558706"/>
                    <a:gd name="connsiteY3" fmla="*/ 5936 h 373442"/>
                    <a:gd name="connsiteX4" fmla="*/ 556687 w 558706"/>
                    <a:gd name="connsiteY4" fmla="*/ 348042 h 373442"/>
                    <a:gd name="connsiteX5" fmla="*/ 347137 w 558706"/>
                    <a:gd name="connsiteY5" fmla="*/ 357567 h 373442"/>
                    <a:gd name="connsiteX6" fmla="*/ 413812 w 558706"/>
                    <a:gd name="connsiteY6" fmla="*/ 198817 h 373442"/>
                    <a:gd name="connsiteX7" fmla="*/ 378887 w 558706"/>
                    <a:gd name="connsiteY7" fmla="*/ 189292 h 373442"/>
                    <a:gd name="connsiteX8" fmla="*/ 299512 w 558706"/>
                    <a:gd name="connsiteY8" fmla="*/ 367092 h 373442"/>
                    <a:gd name="connsiteX9" fmla="*/ 26462 w 558706"/>
                    <a:gd name="connsiteY9" fmla="*/ 373442 h 373442"/>
                    <a:gd name="connsiteX10" fmla="*/ 32812 w 558706"/>
                    <a:gd name="connsiteY10" fmla="*/ 268667 h 373442"/>
                    <a:gd name="connsiteX0" fmla="*/ 32812 w 556687"/>
                    <a:gd name="connsiteY0" fmla="*/ 268667 h 373442"/>
                    <a:gd name="connsiteX1" fmla="*/ 201087 w 556687"/>
                    <a:gd name="connsiteY1" fmla="*/ 252792 h 373442"/>
                    <a:gd name="connsiteX2" fmla="*/ 258237 w 556687"/>
                    <a:gd name="connsiteY2" fmla="*/ 74992 h 373442"/>
                    <a:gd name="connsiteX3" fmla="*/ 438418 w 556687"/>
                    <a:gd name="connsiteY3" fmla="*/ 5936 h 373442"/>
                    <a:gd name="connsiteX4" fmla="*/ 556687 w 556687"/>
                    <a:gd name="connsiteY4" fmla="*/ 348042 h 373442"/>
                    <a:gd name="connsiteX5" fmla="*/ 347137 w 556687"/>
                    <a:gd name="connsiteY5" fmla="*/ 357567 h 373442"/>
                    <a:gd name="connsiteX6" fmla="*/ 413812 w 556687"/>
                    <a:gd name="connsiteY6" fmla="*/ 198817 h 373442"/>
                    <a:gd name="connsiteX7" fmla="*/ 378887 w 556687"/>
                    <a:gd name="connsiteY7" fmla="*/ 189292 h 373442"/>
                    <a:gd name="connsiteX8" fmla="*/ 299512 w 556687"/>
                    <a:gd name="connsiteY8" fmla="*/ 367092 h 373442"/>
                    <a:gd name="connsiteX9" fmla="*/ 26462 w 556687"/>
                    <a:gd name="connsiteY9" fmla="*/ 373442 h 373442"/>
                    <a:gd name="connsiteX10" fmla="*/ 32812 w 556687"/>
                    <a:gd name="connsiteY10" fmla="*/ 268667 h 373442"/>
                    <a:gd name="connsiteX0" fmla="*/ 32812 w 556687"/>
                    <a:gd name="connsiteY0" fmla="*/ 268667 h 373442"/>
                    <a:gd name="connsiteX1" fmla="*/ 201087 w 556687"/>
                    <a:gd name="connsiteY1" fmla="*/ 252792 h 373442"/>
                    <a:gd name="connsiteX2" fmla="*/ 258237 w 556687"/>
                    <a:gd name="connsiteY2" fmla="*/ 74992 h 373442"/>
                    <a:gd name="connsiteX3" fmla="*/ 438418 w 556687"/>
                    <a:gd name="connsiteY3" fmla="*/ 5936 h 373442"/>
                    <a:gd name="connsiteX4" fmla="*/ 556687 w 556687"/>
                    <a:gd name="connsiteY4" fmla="*/ 348042 h 373442"/>
                    <a:gd name="connsiteX5" fmla="*/ 347137 w 556687"/>
                    <a:gd name="connsiteY5" fmla="*/ 357567 h 373442"/>
                    <a:gd name="connsiteX6" fmla="*/ 413812 w 556687"/>
                    <a:gd name="connsiteY6" fmla="*/ 198817 h 373442"/>
                    <a:gd name="connsiteX7" fmla="*/ 378887 w 556687"/>
                    <a:gd name="connsiteY7" fmla="*/ 189292 h 373442"/>
                    <a:gd name="connsiteX8" fmla="*/ 299512 w 556687"/>
                    <a:gd name="connsiteY8" fmla="*/ 367092 h 373442"/>
                    <a:gd name="connsiteX9" fmla="*/ 26462 w 556687"/>
                    <a:gd name="connsiteY9" fmla="*/ 373442 h 373442"/>
                    <a:gd name="connsiteX10" fmla="*/ 32812 w 556687"/>
                    <a:gd name="connsiteY10" fmla="*/ 268667 h 373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56687" h="373442">
                      <a:moveTo>
                        <a:pt x="32812" y="268667"/>
                      </a:moveTo>
                      <a:lnTo>
                        <a:pt x="201087" y="252792"/>
                      </a:lnTo>
                      <a:lnTo>
                        <a:pt x="258237" y="74992"/>
                      </a:lnTo>
                      <a:cubicBezTo>
                        <a:pt x="302951" y="-282"/>
                        <a:pt x="376770" y="-8615"/>
                        <a:pt x="438418" y="5936"/>
                      </a:cubicBezTo>
                      <a:cubicBezTo>
                        <a:pt x="516735" y="49062"/>
                        <a:pt x="546104" y="71949"/>
                        <a:pt x="556687" y="348042"/>
                      </a:cubicBezTo>
                      <a:cubicBezTo>
                        <a:pt x="479693" y="353599"/>
                        <a:pt x="416987" y="354392"/>
                        <a:pt x="347137" y="357567"/>
                      </a:cubicBezTo>
                      <a:cubicBezTo>
                        <a:pt x="357456" y="321318"/>
                        <a:pt x="389206" y="251734"/>
                        <a:pt x="413812" y="198817"/>
                      </a:cubicBezTo>
                      <a:lnTo>
                        <a:pt x="378887" y="189292"/>
                      </a:lnTo>
                      <a:lnTo>
                        <a:pt x="299512" y="367092"/>
                      </a:lnTo>
                      <a:lnTo>
                        <a:pt x="26462" y="373442"/>
                      </a:lnTo>
                      <a:cubicBezTo>
                        <a:pt x="3972" y="361535"/>
                        <a:pt x="-22485" y="302005"/>
                        <a:pt x="32812" y="268667"/>
                      </a:cubicBezTo>
                      <a:close/>
                    </a:path>
                  </a:pathLst>
                </a:cu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sz="1836" kern="0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" name="Freeform 66"/>
                <p:cNvSpPr/>
                <p:nvPr/>
              </p:nvSpPr>
              <p:spPr>
                <a:xfrm rot="20245202">
                  <a:off x="3666777" y="3312921"/>
                  <a:ext cx="255167" cy="149644"/>
                </a:xfrm>
                <a:custGeom>
                  <a:avLst/>
                  <a:gdLst>
                    <a:gd name="connsiteX0" fmla="*/ 246244 w 255167"/>
                    <a:gd name="connsiteY0" fmla="*/ 8923 h 128920"/>
                    <a:gd name="connsiteX1" fmla="*/ 255167 w 255167"/>
                    <a:gd name="connsiteY1" fmla="*/ 30466 h 128920"/>
                    <a:gd name="connsiteX2" fmla="*/ 255167 w 255167"/>
                    <a:gd name="connsiteY2" fmla="*/ 101784 h 128920"/>
                    <a:gd name="connsiteX3" fmla="*/ 246244 w 255167"/>
                    <a:gd name="connsiteY3" fmla="*/ 123327 h 128920"/>
                    <a:gd name="connsiteX4" fmla="*/ 232739 w 255167"/>
                    <a:gd name="connsiteY4" fmla="*/ 128920 h 128920"/>
                    <a:gd name="connsiteX5" fmla="*/ 232739 w 255167"/>
                    <a:gd name="connsiteY5" fmla="*/ 29639 h 128920"/>
                    <a:gd name="connsiteX6" fmla="*/ 223504 w 255167"/>
                    <a:gd name="connsiteY6" fmla="*/ 20404 h 128920"/>
                    <a:gd name="connsiteX7" fmla="*/ 31662 w 255167"/>
                    <a:gd name="connsiteY7" fmla="*/ 20404 h 128920"/>
                    <a:gd name="connsiteX8" fmla="*/ 22427 w 255167"/>
                    <a:gd name="connsiteY8" fmla="*/ 29639 h 128920"/>
                    <a:gd name="connsiteX9" fmla="*/ 22427 w 255167"/>
                    <a:gd name="connsiteY9" fmla="*/ 128920 h 128920"/>
                    <a:gd name="connsiteX10" fmla="*/ 8923 w 255167"/>
                    <a:gd name="connsiteY10" fmla="*/ 123327 h 128920"/>
                    <a:gd name="connsiteX11" fmla="*/ 0 w 255167"/>
                    <a:gd name="connsiteY11" fmla="*/ 101784 h 128920"/>
                    <a:gd name="connsiteX12" fmla="*/ 0 w 255167"/>
                    <a:gd name="connsiteY12" fmla="*/ 30466 h 128920"/>
                    <a:gd name="connsiteX13" fmla="*/ 30466 w 255167"/>
                    <a:gd name="connsiteY13" fmla="*/ 0 h 128920"/>
                    <a:gd name="connsiteX14" fmla="*/ 224701 w 255167"/>
                    <a:gd name="connsiteY14" fmla="*/ 0 h 128920"/>
                    <a:gd name="connsiteX15" fmla="*/ 246244 w 255167"/>
                    <a:gd name="connsiteY15" fmla="*/ 8923 h 128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55167" h="128920">
                      <a:moveTo>
                        <a:pt x="246244" y="8923"/>
                      </a:moveTo>
                      <a:cubicBezTo>
                        <a:pt x="251757" y="14437"/>
                        <a:pt x="255167" y="22053"/>
                        <a:pt x="255167" y="30466"/>
                      </a:cubicBezTo>
                      <a:lnTo>
                        <a:pt x="255167" y="101784"/>
                      </a:lnTo>
                      <a:cubicBezTo>
                        <a:pt x="255167" y="110197"/>
                        <a:pt x="251757" y="117814"/>
                        <a:pt x="246244" y="123327"/>
                      </a:cubicBezTo>
                      <a:lnTo>
                        <a:pt x="232739" y="128920"/>
                      </a:lnTo>
                      <a:lnTo>
                        <a:pt x="232739" y="29639"/>
                      </a:lnTo>
                      <a:cubicBezTo>
                        <a:pt x="232739" y="24539"/>
                        <a:pt x="228604" y="20404"/>
                        <a:pt x="223504" y="20404"/>
                      </a:cubicBezTo>
                      <a:lnTo>
                        <a:pt x="31662" y="20404"/>
                      </a:lnTo>
                      <a:cubicBezTo>
                        <a:pt x="26562" y="20404"/>
                        <a:pt x="22427" y="24539"/>
                        <a:pt x="22427" y="29639"/>
                      </a:cubicBezTo>
                      <a:lnTo>
                        <a:pt x="22427" y="128920"/>
                      </a:lnTo>
                      <a:lnTo>
                        <a:pt x="8923" y="123327"/>
                      </a:lnTo>
                      <a:cubicBezTo>
                        <a:pt x="3410" y="117813"/>
                        <a:pt x="0" y="110197"/>
                        <a:pt x="0" y="101784"/>
                      </a:cubicBezTo>
                      <a:lnTo>
                        <a:pt x="0" y="30466"/>
                      </a:lnTo>
                      <a:cubicBezTo>
                        <a:pt x="0" y="13640"/>
                        <a:pt x="13640" y="0"/>
                        <a:pt x="30466" y="0"/>
                      </a:cubicBezTo>
                      <a:lnTo>
                        <a:pt x="224701" y="0"/>
                      </a:lnTo>
                      <a:cubicBezTo>
                        <a:pt x="233114" y="0"/>
                        <a:pt x="240731" y="3410"/>
                        <a:pt x="246244" y="8923"/>
                      </a:cubicBezTo>
                      <a:close/>
                    </a:path>
                  </a:pathLst>
                </a:cu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sz="1836" kern="0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sp>
          <p:nvSpPr>
            <p:cNvPr id="19" name="TextBox 18"/>
            <p:cNvSpPr txBox="1"/>
            <p:nvPr/>
          </p:nvSpPr>
          <p:spPr>
            <a:xfrm rot="1990396">
              <a:off x="6980434" y="4191225"/>
              <a:ext cx="1219027" cy="3483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31881"/>
              <a:r>
                <a:rPr lang="en-US" sz="1600" b="1" dirty="0">
                  <a:solidFill>
                    <a:schemeClr val="accent4">
                      <a:lumMod val="60000"/>
                      <a:lumOff val="4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EST API calls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0236300" y="4722721"/>
              <a:ext cx="2318133" cy="1391497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dirty="0">
                  <a:solidFill>
                    <a:schemeClr val="accent1"/>
                  </a:solidFill>
                </a:rPr>
                <a:t>Easy Integration</a:t>
              </a:r>
            </a:p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wagger-based APIs: easy to consume with any programming language</a:t>
              </a: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8696763" y="3945175"/>
              <a:ext cx="1467255" cy="1466874"/>
              <a:chOff x="9426074" y="4576906"/>
              <a:chExt cx="1520669" cy="1520274"/>
            </a:xfrm>
          </p:grpSpPr>
          <p:grpSp>
            <p:nvGrpSpPr>
              <p:cNvPr id="29" name="Group 28"/>
              <p:cNvGrpSpPr/>
              <p:nvPr/>
            </p:nvGrpSpPr>
            <p:grpSpPr>
              <a:xfrm>
                <a:off x="9426074" y="4576906"/>
                <a:ext cx="1520669" cy="1520274"/>
                <a:chOff x="9638894" y="4976320"/>
                <a:chExt cx="1097280" cy="1096995"/>
              </a:xfrm>
            </p:grpSpPr>
            <p:sp>
              <p:nvSpPr>
                <p:cNvPr id="31" name="Oval 2"/>
                <p:cNvSpPr>
                  <a:spLocks noChangeAspect="1"/>
                </p:cNvSpPr>
                <p:nvPr/>
              </p:nvSpPr>
              <p:spPr bwMode="auto">
                <a:xfrm>
                  <a:off x="9638894" y="4976320"/>
                  <a:ext cx="1097280" cy="1096995"/>
                </a:xfrm>
                <a:prstGeom prst="ellipse">
                  <a:avLst/>
                </a:prstGeom>
                <a:solidFill>
                  <a:schemeClr val="bg1"/>
                </a:solidFill>
                <a:ln w="25400">
                  <a:solidFill>
                    <a:schemeClr val="accent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46630" rIns="46630" bIns="9326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29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40" spc="-51" dirty="0">
                    <a:solidFill>
                      <a:schemeClr val="tx1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2" name="Freeform 53"/>
                <p:cNvSpPr>
                  <a:spLocks noEditPoints="1"/>
                </p:cNvSpPr>
                <p:nvPr/>
              </p:nvSpPr>
              <p:spPr bwMode="auto">
                <a:xfrm>
                  <a:off x="10010231" y="5143786"/>
                  <a:ext cx="451892" cy="644949"/>
                </a:xfrm>
                <a:custGeom>
                  <a:avLst/>
                  <a:gdLst>
                    <a:gd name="T0" fmla="*/ 1011 w 1280"/>
                    <a:gd name="T1" fmla="*/ 1048 h 1827"/>
                    <a:gd name="T2" fmla="*/ 958 w 1280"/>
                    <a:gd name="T3" fmla="*/ 1013 h 1827"/>
                    <a:gd name="T4" fmla="*/ 847 w 1280"/>
                    <a:gd name="T5" fmla="*/ 961 h 1827"/>
                    <a:gd name="T6" fmla="*/ 814 w 1280"/>
                    <a:gd name="T7" fmla="*/ 965 h 1827"/>
                    <a:gd name="T8" fmla="*/ 710 w 1280"/>
                    <a:gd name="T9" fmla="*/ 572 h 1827"/>
                    <a:gd name="T10" fmla="*/ 601 w 1280"/>
                    <a:gd name="T11" fmla="*/ 594 h 1827"/>
                    <a:gd name="T12" fmla="*/ 705 w 1280"/>
                    <a:gd name="T13" fmla="*/ 1159 h 1827"/>
                    <a:gd name="T14" fmla="*/ 663 w 1280"/>
                    <a:gd name="T15" fmla="*/ 1238 h 1827"/>
                    <a:gd name="T16" fmla="*/ 504 w 1280"/>
                    <a:gd name="T17" fmla="*/ 1112 h 1827"/>
                    <a:gd name="T18" fmla="*/ 348 w 1280"/>
                    <a:gd name="T19" fmla="*/ 1032 h 1827"/>
                    <a:gd name="T20" fmla="*/ 378 w 1280"/>
                    <a:gd name="T21" fmla="*/ 1138 h 1827"/>
                    <a:gd name="T22" fmla="*/ 416 w 1280"/>
                    <a:gd name="T23" fmla="*/ 1245 h 1827"/>
                    <a:gd name="T24" fmla="*/ 492 w 1280"/>
                    <a:gd name="T25" fmla="*/ 1368 h 1827"/>
                    <a:gd name="T26" fmla="*/ 729 w 1280"/>
                    <a:gd name="T27" fmla="*/ 1659 h 1827"/>
                    <a:gd name="T28" fmla="*/ 805 w 1280"/>
                    <a:gd name="T29" fmla="*/ 1827 h 1827"/>
                    <a:gd name="T30" fmla="*/ 1238 w 1280"/>
                    <a:gd name="T31" fmla="*/ 1652 h 1827"/>
                    <a:gd name="T32" fmla="*/ 1257 w 1280"/>
                    <a:gd name="T33" fmla="*/ 1576 h 1827"/>
                    <a:gd name="T34" fmla="*/ 1273 w 1280"/>
                    <a:gd name="T35" fmla="*/ 1354 h 1827"/>
                    <a:gd name="T36" fmla="*/ 1198 w 1280"/>
                    <a:gd name="T37" fmla="*/ 1207 h 1827"/>
                    <a:gd name="T38" fmla="*/ 1131 w 1280"/>
                    <a:gd name="T39" fmla="*/ 1112 h 1827"/>
                    <a:gd name="T40" fmla="*/ 826 w 1280"/>
                    <a:gd name="T41" fmla="*/ 381 h 1827"/>
                    <a:gd name="T42" fmla="*/ 442 w 1280"/>
                    <a:gd name="T43" fmla="*/ 0 h 1827"/>
                    <a:gd name="T44" fmla="*/ 826 w 1280"/>
                    <a:gd name="T45" fmla="*/ 381 h 1827"/>
                    <a:gd name="T46" fmla="*/ 386 w 1280"/>
                    <a:gd name="T47" fmla="*/ 381 h 1827"/>
                    <a:gd name="T48" fmla="*/ 0 w 1280"/>
                    <a:gd name="T49" fmla="*/ 0 h 1827"/>
                    <a:gd name="T50" fmla="*/ 386 w 1280"/>
                    <a:gd name="T51" fmla="*/ 381 h 1827"/>
                    <a:gd name="T52" fmla="*/ 594 w 1280"/>
                    <a:gd name="T53" fmla="*/ 821 h 1827"/>
                    <a:gd name="T54" fmla="*/ 442 w 1280"/>
                    <a:gd name="T55" fmla="*/ 437 h 1827"/>
                    <a:gd name="T56" fmla="*/ 826 w 1280"/>
                    <a:gd name="T57" fmla="*/ 821 h 1827"/>
                    <a:gd name="T58" fmla="*/ 755 w 1280"/>
                    <a:gd name="T59" fmla="*/ 561 h 1827"/>
                    <a:gd name="T60" fmla="*/ 755 w 1280"/>
                    <a:gd name="T61" fmla="*/ 561 h 1827"/>
                    <a:gd name="T62" fmla="*/ 636 w 1280"/>
                    <a:gd name="T63" fmla="*/ 480 h 1827"/>
                    <a:gd name="T64" fmla="*/ 554 w 1280"/>
                    <a:gd name="T65" fmla="*/ 601 h 1827"/>
                    <a:gd name="T66" fmla="*/ 594 w 1280"/>
                    <a:gd name="T67" fmla="*/ 821 h 1827"/>
                    <a:gd name="T68" fmla="*/ 0 w 1280"/>
                    <a:gd name="T69" fmla="*/ 1261 h 1827"/>
                    <a:gd name="T70" fmla="*/ 606 w 1280"/>
                    <a:gd name="T71" fmla="*/ 880 h 1827"/>
                    <a:gd name="T72" fmla="*/ 658 w 1280"/>
                    <a:gd name="T73" fmla="*/ 1157 h 1827"/>
                    <a:gd name="T74" fmla="*/ 658 w 1280"/>
                    <a:gd name="T75" fmla="*/ 1159 h 1827"/>
                    <a:gd name="T76" fmla="*/ 644 w 1280"/>
                    <a:gd name="T77" fmla="*/ 1193 h 1827"/>
                    <a:gd name="T78" fmla="*/ 608 w 1280"/>
                    <a:gd name="T79" fmla="*/ 1178 h 1827"/>
                    <a:gd name="T80" fmla="*/ 563 w 1280"/>
                    <a:gd name="T81" fmla="*/ 1117 h 1827"/>
                    <a:gd name="T82" fmla="*/ 532 w 1280"/>
                    <a:gd name="T83" fmla="*/ 1067 h 1827"/>
                    <a:gd name="T84" fmla="*/ 388 w 1280"/>
                    <a:gd name="T85" fmla="*/ 972 h 1827"/>
                    <a:gd name="T86" fmla="*/ 298 w 1280"/>
                    <a:gd name="T87" fmla="*/ 1105 h 1827"/>
                    <a:gd name="T88" fmla="*/ 336 w 1280"/>
                    <a:gd name="T89" fmla="*/ 1157 h 1827"/>
                    <a:gd name="T90" fmla="*/ 357 w 1280"/>
                    <a:gd name="T91" fmla="*/ 1219 h 1827"/>
                    <a:gd name="T92" fmla="*/ 386 w 1280"/>
                    <a:gd name="T93" fmla="*/ 821 h 1827"/>
                    <a:gd name="T94" fmla="*/ 0 w 1280"/>
                    <a:gd name="T95" fmla="*/ 437 h 1827"/>
                    <a:gd name="T96" fmla="*/ 386 w 1280"/>
                    <a:gd name="T97" fmla="*/ 821 h 18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80" h="1827">
                      <a:moveTo>
                        <a:pt x="1013" y="1048"/>
                      </a:moveTo>
                      <a:cubicBezTo>
                        <a:pt x="1011" y="1048"/>
                        <a:pt x="1011" y="1048"/>
                        <a:pt x="1011" y="1048"/>
                      </a:cubicBezTo>
                      <a:cubicBezTo>
                        <a:pt x="977" y="1046"/>
                        <a:pt x="977" y="1046"/>
                        <a:pt x="977" y="1046"/>
                      </a:cubicBezTo>
                      <a:cubicBezTo>
                        <a:pt x="958" y="1013"/>
                        <a:pt x="958" y="1013"/>
                        <a:pt x="958" y="1013"/>
                      </a:cubicBezTo>
                      <a:cubicBezTo>
                        <a:pt x="954" y="1008"/>
                        <a:pt x="951" y="1003"/>
                        <a:pt x="947" y="998"/>
                      </a:cubicBezTo>
                      <a:cubicBezTo>
                        <a:pt x="918" y="975"/>
                        <a:pt x="885" y="961"/>
                        <a:pt x="847" y="961"/>
                      </a:cubicBezTo>
                      <a:cubicBezTo>
                        <a:pt x="814" y="968"/>
                        <a:pt x="814" y="968"/>
                        <a:pt x="814" y="968"/>
                      </a:cubicBezTo>
                      <a:cubicBezTo>
                        <a:pt x="814" y="965"/>
                        <a:pt x="814" y="965"/>
                        <a:pt x="814" y="965"/>
                      </a:cubicBezTo>
                      <a:cubicBezTo>
                        <a:pt x="814" y="963"/>
                        <a:pt x="814" y="963"/>
                        <a:pt x="814" y="963"/>
                      </a:cubicBezTo>
                      <a:cubicBezTo>
                        <a:pt x="710" y="572"/>
                        <a:pt x="710" y="572"/>
                        <a:pt x="710" y="572"/>
                      </a:cubicBezTo>
                      <a:cubicBezTo>
                        <a:pt x="696" y="523"/>
                        <a:pt x="672" y="523"/>
                        <a:pt x="644" y="527"/>
                      </a:cubicBezTo>
                      <a:cubicBezTo>
                        <a:pt x="644" y="527"/>
                        <a:pt x="589" y="535"/>
                        <a:pt x="601" y="594"/>
                      </a:cubicBezTo>
                      <a:cubicBezTo>
                        <a:pt x="703" y="1140"/>
                        <a:pt x="703" y="1140"/>
                        <a:pt x="703" y="1140"/>
                      </a:cubicBezTo>
                      <a:cubicBezTo>
                        <a:pt x="703" y="1148"/>
                        <a:pt x="705" y="1152"/>
                        <a:pt x="705" y="1159"/>
                      </a:cubicBezTo>
                      <a:cubicBezTo>
                        <a:pt x="705" y="1183"/>
                        <a:pt x="696" y="1207"/>
                        <a:pt x="679" y="1226"/>
                      </a:cubicBezTo>
                      <a:cubicBezTo>
                        <a:pt x="674" y="1233"/>
                        <a:pt x="667" y="1238"/>
                        <a:pt x="663" y="1238"/>
                      </a:cubicBezTo>
                      <a:cubicBezTo>
                        <a:pt x="632" y="1242"/>
                        <a:pt x="603" y="1235"/>
                        <a:pt x="577" y="1216"/>
                      </a:cubicBezTo>
                      <a:cubicBezTo>
                        <a:pt x="547" y="1193"/>
                        <a:pt x="525" y="1143"/>
                        <a:pt x="504" y="1112"/>
                      </a:cubicBezTo>
                      <a:cubicBezTo>
                        <a:pt x="492" y="1093"/>
                        <a:pt x="483" y="1072"/>
                        <a:pt x="468" y="1055"/>
                      </a:cubicBezTo>
                      <a:cubicBezTo>
                        <a:pt x="440" y="1027"/>
                        <a:pt x="383" y="1003"/>
                        <a:pt x="348" y="1032"/>
                      </a:cubicBezTo>
                      <a:cubicBezTo>
                        <a:pt x="338" y="1041"/>
                        <a:pt x="326" y="1065"/>
                        <a:pt x="336" y="1077"/>
                      </a:cubicBezTo>
                      <a:cubicBezTo>
                        <a:pt x="350" y="1096"/>
                        <a:pt x="369" y="1117"/>
                        <a:pt x="378" y="1138"/>
                      </a:cubicBezTo>
                      <a:cubicBezTo>
                        <a:pt x="388" y="1155"/>
                        <a:pt x="393" y="1174"/>
                        <a:pt x="400" y="1193"/>
                      </a:cubicBezTo>
                      <a:cubicBezTo>
                        <a:pt x="404" y="1204"/>
                        <a:pt x="407" y="1235"/>
                        <a:pt x="416" y="1245"/>
                      </a:cubicBezTo>
                      <a:cubicBezTo>
                        <a:pt x="426" y="1254"/>
                        <a:pt x="435" y="1273"/>
                        <a:pt x="442" y="1285"/>
                      </a:cubicBezTo>
                      <a:cubicBezTo>
                        <a:pt x="459" y="1311"/>
                        <a:pt x="483" y="1339"/>
                        <a:pt x="492" y="1368"/>
                      </a:cubicBezTo>
                      <a:cubicBezTo>
                        <a:pt x="525" y="1415"/>
                        <a:pt x="539" y="1477"/>
                        <a:pt x="575" y="1522"/>
                      </a:cubicBezTo>
                      <a:cubicBezTo>
                        <a:pt x="620" y="1576"/>
                        <a:pt x="663" y="1628"/>
                        <a:pt x="729" y="1659"/>
                      </a:cubicBezTo>
                      <a:cubicBezTo>
                        <a:pt x="752" y="1673"/>
                        <a:pt x="769" y="1692"/>
                        <a:pt x="783" y="1713"/>
                      </a:cubicBezTo>
                      <a:cubicBezTo>
                        <a:pt x="805" y="1827"/>
                        <a:pt x="805" y="1827"/>
                        <a:pt x="805" y="1827"/>
                      </a:cubicBezTo>
                      <a:cubicBezTo>
                        <a:pt x="887" y="1813"/>
                        <a:pt x="1224" y="1756"/>
                        <a:pt x="1259" y="1749"/>
                      </a:cubicBezTo>
                      <a:cubicBezTo>
                        <a:pt x="1238" y="1652"/>
                        <a:pt x="1238" y="1652"/>
                        <a:pt x="1238" y="1652"/>
                      </a:cubicBezTo>
                      <a:cubicBezTo>
                        <a:pt x="1235" y="1649"/>
                        <a:pt x="1235" y="1649"/>
                        <a:pt x="1235" y="1649"/>
                      </a:cubicBezTo>
                      <a:cubicBezTo>
                        <a:pt x="1245" y="1626"/>
                        <a:pt x="1250" y="1600"/>
                        <a:pt x="1257" y="1576"/>
                      </a:cubicBezTo>
                      <a:cubicBezTo>
                        <a:pt x="1262" y="1555"/>
                        <a:pt x="1266" y="1536"/>
                        <a:pt x="1266" y="1514"/>
                      </a:cubicBezTo>
                      <a:cubicBezTo>
                        <a:pt x="1269" y="1462"/>
                        <a:pt x="1271" y="1408"/>
                        <a:pt x="1273" y="1354"/>
                      </a:cubicBezTo>
                      <a:cubicBezTo>
                        <a:pt x="1273" y="1344"/>
                        <a:pt x="1273" y="1335"/>
                        <a:pt x="1276" y="1325"/>
                      </a:cubicBezTo>
                      <a:cubicBezTo>
                        <a:pt x="1280" y="1294"/>
                        <a:pt x="1262" y="1211"/>
                        <a:pt x="1198" y="1207"/>
                      </a:cubicBezTo>
                      <a:cubicBezTo>
                        <a:pt x="1195" y="1207"/>
                        <a:pt x="1195" y="1207"/>
                        <a:pt x="1195" y="1204"/>
                      </a:cubicBezTo>
                      <a:cubicBezTo>
                        <a:pt x="1179" y="1171"/>
                        <a:pt x="1157" y="1140"/>
                        <a:pt x="1131" y="1112"/>
                      </a:cubicBezTo>
                      <a:cubicBezTo>
                        <a:pt x="1101" y="1079"/>
                        <a:pt x="1058" y="1055"/>
                        <a:pt x="1013" y="1048"/>
                      </a:cubicBezTo>
                      <a:close/>
                      <a:moveTo>
                        <a:pt x="826" y="381"/>
                      </a:moveTo>
                      <a:cubicBezTo>
                        <a:pt x="442" y="381"/>
                        <a:pt x="442" y="381"/>
                        <a:pt x="442" y="38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cubicBezTo>
                        <a:pt x="826" y="0"/>
                        <a:pt x="826" y="0"/>
                        <a:pt x="826" y="0"/>
                      </a:cubicBezTo>
                      <a:cubicBezTo>
                        <a:pt x="826" y="381"/>
                        <a:pt x="826" y="381"/>
                        <a:pt x="826" y="381"/>
                      </a:cubicBezTo>
                      <a:cubicBezTo>
                        <a:pt x="826" y="381"/>
                        <a:pt x="826" y="381"/>
                        <a:pt x="826" y="381"/>
                      </a:cubicBezTo>
                      <a:close/>
                      <a:moveTo>
                        <a:pt x="386" y="381"/>
                      </a:moveTo>
                      <a:cubicBezTo>
                        <a:pt x="0" y="381"/>
                        <a:pt x="0" y="381"/>
                        <a:pt x="0" y="38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86" y="0"/>
                        <a:pt x="386" y="0"/>
                        <a:pt x="386" y="0"/>
                      </a:cubicBezTo>
                      <a:cubicBezTo>
                        <a:pt x="386" y="381"/>
                        <a:pt x="386" y="381"/>
                        <a:pt x="386" y="381"/>
                      </a:cubicBezTo>
                      <a:cubicBezTo>
                        <a:pt x="386" y="381"/>
                        <a:pt x="386" y="381"/>
                        <a:pt x="386" y="381"/>
                      </a:cubicBezTo>
                      <a:close/>
                      <a:moveTo>
                        <a:pt x="594" y="821"/>
                      </a:moveTo>
                      <a:cubicBezTo>
                        <a:pt x="442" y="821"/>
                        <a:pt x="442" y="821"/>
                        <a:pt x="442" y="821"/>
                      </a:cubicBezTo>
                      <a:cubicBezTo>
                        <a:pt x="442" y="437"/>
                        <a:pt x="442" y="437"/>
                        <a:pt x="442" y="437"/>
                      </a:cubicBezTo>
                      <a:cubicBezTo>
                        <a:pt x="826" y="437"/>
                        <a:pt x="826" y="437"/>
                        <a:pt x="826" y="437"/>
                      </a:cubicBezTo>
                      <a:cubicBezTo>
                        <a:pt x="826" y="821"/>
                        <a:pt x="826" y="821"/>
                        <a:pt x="826" y="821"/>
                      </a:cubicBezTo>
                      <a:cubicBezTo>
                        <a:pt x="826" y="821"/>
                        <a:pt x="826" y="821"/>
                        <a:pt x="826" y="821"/>
                      </a:cubicBezTo>
                      <a:cubicBezTo>
                        <a:pt x="755" y="561"/>
                        <a:pt x="755" y="561"/>
                        <a:pt x="755" y="561"/>
                      </a:cubicBezTo>
                      <a:cubicBezTo>
                        <a:pt x="755" y="561"/>
                        <a:pt x="755" y="561"/>
                        <a:pt x="755" y="561"/>
                      </a:cubicBezTo>
                      <a:cubicBezTo>
                        <a:pt x="755" y="561"/>
                        <a:pt x="755" y="561"/>
                        <a:pt x="755" y="561"/>
                      </a:cubicBezTo>
                      <a:cubicBezTo>
                        <a:pt x="736" y="492"/>
                        <a:pt x="693" y="478"/>
                        <a:pt x="663" y="478"/>
                      </a:cubicBezTo>
                      <a:cubicBezTo>
                        <a:pt x="653" y="478"/>
                        <a:pt x="644" y="478"/>
                        <a:pt x="636" y="480"/>
                      </a:cubicBezTo>
                      <a:cubicBezTo>
                        <a:pt x="627" y="482"/>
                        <a:pt x="591" y="490"/>
                        <a:pt x="570" y="520"/>
                      </a:cubicBezTo>
                      <a:cubicBezTo>
                        <a:pt x="558" y="537"/>
                        <a:pt x="547" y="563"/>
                        <a:pt x="554" y="601"/>
                      </a:cubicBezTo>
                      <a:cubicBezTo>
                        <a:pt x="594" y="821"/>
                        <a:pt x="594" y="821"/>
                        <a:pt x="594" y="821"/>
                      </a:cubicBezTo>
                      <a:cubicBezTo>
                        <a:pt x="594" y="821"/>
                        <a:pt x="594" y="821"/>
                        <a:pt x="594" y="821"/>
                      </a:cubicBezTo>
                      <a:close/>
                      <a:moveTo>
                        <a:pt x="371" y="1261"/>
                      </a:moveTo>
                      <a:cubicBezTo>
                        <a:pt x="0" y="1261"/>
                        <a:pt x="0" y="1261"/>
                        <a:pt x="0" y="1261"/>
                      </a:cubicBezTo>
                      <a:cubicBezTo>
                        <a:pt x="0" y="880"/>
                        <a:pt x="0" y="880"/>
                        <a:pt x="0" y="880"/>
                      </a:cubicBezTo>
                      <a:cubicBezTo>
                        <a:pt x="606" y="880"/>
                        <a:pt x="606" y="880"/>
                        <a:pt x="606" y="880"/>
                      </a:cubicBezTo>
                      <a:cubicBezTo>
                        <a:pt x="655" y="1150"/>
                        <a:pt x="655" y="1150"/>
                        <a:pt x="655" y="1150"/>
                      </a:cubicBezTo>
                      <a:cubicBezTo>
                        <a:pt x="655" y="1152"/>
                        <a:pt x="658" y="1155"/>
                        <a:pt x="658" y="1157"/>
                      </a:cubicBezTo>
                      <a:cubicBezTo>
                        <a:pt x="658" y="1157"/>
                        <a:pt x="658" y="1157"/>
                        <a:pt x="658" y="1157"/>
                      </a:cubicBezTo>
                      <a:cubicBezTo>
                        <a:pt x="658" y="1159"/>
                        <a:pt x="658" y="1159"/>
                        <a:pt x="658" y="1159"/>
                      </a:cubicBezTo>
                      <a:cubicBezTo>
                        <a:pt x="658" y="1171"/>
                        <a:pt x="653" y="1181"/>
                        <a:pt x="646" y="1193"/>
                      </a:cubicBezTo>
                      <a:cubicBezTo>
                        <a:pt x="644" y="1193"/>
                        <a:pt x="644" y="1193"/>
                        <a:pt x="644" y="1193"/>
                      </a:cubicBezTo>
                      <a:cubicBezTo>
                        <a:pt x="632" y="1193"/>
                        <a:pt x="620" y="1188"/>
                        <a:pt x="608" y="1178"/>
                      </a:cubicBezTo>
                      <a:cubicBezTo>
                        <a:pt x="608" y="1178"/>
                        <a:pt x="608" y="1178"/>
                        <a:pt x="608" y="1178"/>
                      </a:cubicBezTo>
                      <a:cubicBezTo>
                        <a:pt x="608" y="1178"/>
                        <a:pt x="608" y="1178"/>
                        <a:pt x="608" y="1178"/>
                      </a:cubicBezTo>
                      <a:cubicBezTo>
                        <a:pt x="591" y="1167"/>
                        <a:pt x="577" y="1140"/>
                        <a:pt x="563" y="1117"/>
                      </a:cubicBezTo>
                      <a:cubicBezTo>
                        <a:pt x="556" y="1107"/>
                        <a:pt x="551" y="1096"/>
                        <a:pt x="544" y="1086"/>
                      </a:cubicBezTo>
                      <a:cubicBezTo>
                        <a:pt x="539" y="1079"/>
                        <a:pt x="537" y="1074"/>
                        <a:pt x="532" y="1067"/>
                      </a:cubicBezTo>
                      <a:cubicBezTo>
                        <a:pt x="525" y="1053"/>
                        <a:pt x="516" y="1036"/>
                        <a:pt x="502" y="1022"/>
                      </a:cubicBezTo>
                      <a:cubicBezTo>
                        <a:pt x="473" y="991"/>
                        <a:pt x="428" y="972"/>
                        <a:pt x="388" y="972"/>
                      </a:cubicBezTo>
                      <a:cubicBezTo>
                        <a:pt x="362" y="972"/>
                        <a:pt x="338" y="980"/>
                        <a:pt x="319" y="994"/>
                      </a:cubicBezTo>
                      <a:cubicBezTo>
                        <a:pt x="293" y="1017"/>
                        <a:pt x="270" y="1069"/>
                        <a:pt x="298" y="1105"/>
                      </a:cubicBezTo>
                      <a:cubicBezTo>
                        <a:pt x="303" y="1110"/>
                        <a:pt x="305" y="1114"/>
                        <a:pt x="310" y="1119"/>
                      </a:cubicBezTo>
                      <a:cubicBezTo>
                        <a:pt x="319" y="1133"/>
                        <a:pt x="331" y="1148"/>
                        <a:pt x="336" y="1157"/>
                      </a:cubicBezTo>
                      <a:cubicBezTo>
                        <a:pt x="343" y="1174"/>
                        <a:pt x="350" y="1193"/>
                        <a:pt x="355" y="1207"/>
                      </a:cubicBezTo>
                      <a:cubicBezTo>
                        <a:pt x="355" y="1209"/>
                        <a:pt x="357" y="1214"/>
                        <a:pt x="357" y="1219"/>
                      </a:cubicBezTo>
                      <a:cubicBezTo>
                        <a:pt x="359" y="1233"/>
                        <a:pt x="364" y="1247"/>
                        <a:pt x="371" y="1261"/>
                      </a:cubicBezTo>
                      <a:close/>
                      <a:moveTo>
                        <a:pt x="386" y="821"/>
                      </a:moveTo>
                      <a:cubicBezTo>
                        <a:pt x="0" y="821"/>
                        <a:pt x="0" y="821"/>
                        <a:pt x="0" y="821"/>
                      </a:cubicBezTo>
                      <a:cubicBezTo>
                        <a:pt x="0" y="437"/>
                        <a:pt x="0" y="437"/>
                        <a:pt x="0" y="437"/>
                      </a:cubicBezTo>
                      <a:cubicBezTo>
                        <a:pt x="386" y="437"/>
                        <a:pt x="386" y="437"/>
                        <a:pt x="386" y="437"/>
                      </a:cubicBezTo>
                      <a:cubicBezTo>
                        <a:pt x="386" y="821"/>
                        <a:pt x="386" y="821"/>
                        <a:pt x="386" y="821"/>
                      </a:cubicBezTo>
                      <a:cubicBezTo>
                        <a:pt x="386" y="821"/>
                        <a:pt x="386" y="821"/>
                        <a:pt x="386" y="821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txBody>
                <a:bodyPr vert="horz" wrap="square" lIns="91414" tIns="45706" rIns="91414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38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0" name="TextBox 29"/>
              <p:cNvSpPr txBox="1"/>
              <p:nvPr/>
            </p:nvSpPr>
            <p:spPr>
              <a:xfrm>
                <a:off x="9707930" y="5549720"/>
                <a:ext cx="993314" cy="530465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b="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Apps</a:t>
                </a:r>
              </a:p>
            </p:txBody>
          </p:sp>
        </p:grpSp>
        <p:cxnSp>
          <p:nvCxnSpPr>
            <p:cNvPr id="45" name="Straight Arrow Connector 44"/>
            <p:cNvCxnSpPr>
              <a:cxnSpLocks/>
              <a:stCxn id="24" idx="3"/>
              <a:endCxn id="31" idx="2"/>
            </p:cNvCxnSpPr>
            <p:nvPr/>
          </p:nvCxnSpPr>
          <p:spPr>
            <a:xfrm>
              <a:off x="6849055" y="3565001"/>
              <a:ext cx="1847708" cy="1113611"/>
            </a:xfrm>
            <a:prstGeom prst="straightConnector1">
              <a:avLst/>
            </a:prstGeom>
            <a:ln w="31750" cap="flat" cmpd="sng" algn="ctr">
              <a:solidFill>
                <a:schemeClr val="accent1"/>
              </a:solidFill>
              <a:prstDash val="solid"/>
              <a:round/>
              <a:headEnd type="arrow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3" name="Group 2"/>
          <p:cNvGrpSpPr/>
          <p:nvPr/>
        </p:nvGrpSpPr>
        <p:grpSpPr>
          <a:xfrm>
            <a:off x="427479" y="2020905"/>
            <a:ext cx="3427293" cy="2651799"/>
            <a:chOff x="427479" y="2020905"/>
            <a:chExt cx="3427293" cy="2651799"/>
          </a:xfrm>
        </p:grpSpPr>
        <p:grpSp>
          <p:nvGrpSpPr>
            <p:cNvPr id="4" name="Group 3"/>
            <p:cNvGrpSpPr/>
            <p:nvPr/>
          </p:nvGrpSpPr>
          <p:grpSpPr>
            <a:xfrm>
              <a:off x="427479" y="2078882"/>
              <a:ext cx="1138238" cy="916536"/>
              <a:chOff x="1" y="770872"/>
              <a:chExt cx="1219200" cy="981728"/>
            </a:xfrm>
            <a:solidFill>
              <a:schemeClr val="accent3"/>
            </a:solidFill>
          </p:grpSpPr>
          <p:sp>
            <p:nvSpPr>
              <p:cNvPr id="5" name="TextBox 4"/>
              <p:cNvSpPr txBox="1"/>
              <p:nvPr/>
            </p:nvSpPr>
            <p:spPr>
              <a:xfrm>
                <a:off x="1" y="1404235"/>
                <a:ext cx="1219200" cy="3483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 defTabSz="931881"/>
                <a:r>
                  <a:rPr lang="en-US" sz="1400" b="1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Data Scientist</a:t>
                </a:r>
              </a:p>
            </p:txBody>
          </p:sp>
          <p:grpSp>
            <p:nvGrpSpPr>
              <p:cNvPr id="6" name="Group 5"/>
              <p:cNvGrpSpPr>
                <a:grpSpLocks noChangeAspect="1"/>
              </p:cNvGrpSpPr>
              <p:nvPr/>
            </p:nvGrpSpPr>
            <p:grpSpPr>
              <a:xfrm>
                <a:off x="243002" y="770872"/>
                <a:ext cx="564718" cy="522569"/>
                <a:chOff x="5809310" y="1674658"/>
                <a:chExt cx="4585732" cy="4226967"/>
              </a:xfrm>
              <a:grpFill/>
            </p:grpSpPr>
            <p:sp>
              <p:nvSpPr>
                <p:cNvPr id="7" name="Oval 6"/>
                <p:cNvSpPr/>
                <p:nvPr/>
              </p:nvSpPr>
              <p:spPr>
                <a:xfrm>
                  <a:off x="6881217" y="1674658"/>
                  <a:ext cx="2210082" cy="2210082"/>
                </a:xfrm>
                <a:prstGeom prst="ellipse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" name="Freeform 48"/>
                <p:cNvSpPr/>
                <p:nvPr/>
              </p:nvSpPr>
              <p:spPr>
                <a:xfrm>
                  <a:off x="5809310" y="3984172"/>
                  <a:ext cx="3316029" cy="1917453"/>
                </a:xfrm>
                <a:custGeom>
                  <a:avLst/>
                  <a:gdLst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827176 w 3331029"/>
                    <a:gd name="connsiteY13" fmla="*/ 279918 h 1912775"/>
                    <a:gd name="connsiteX14" fmla="*/ 2528596 w 3331029"/>
                    <a:gd name="connsiteY14" fmla="*/ 1212980 h 1912775"/>
                    <a:gd name="connsiteX15" fmla="*/ 2258008 w 3331029"/>
                    <a:gd name="connsiteY15" fmla="*/ 1716833 h 1912775"/>
                    <a:gd name="connsiteX16" fmla="*/ 2164702 w 3331029"/>
                    <a:gd name="connsiteY16" fmla="*/ 1782147 h 1912775"/>
                    <a:gd name="connsiteX17" fmla="*/ 1968760 w 3331029"/>
                    <a:gd name="connsiteY17" fmla="*/ 1446245 h 1912775"/>
                    <a:gd name="connsiteX18" fmla="*/ 1688841 w 3331029"/>
                    <a:gd name="connsiteY18" fmla="*/ 886408 h 1912775"/>
                    <a:gd name="connsiteX19" fmla="*/ 1558213 w 3331029"/>
                    <a:gd name="connsiteY19" fmla="*/ 457200 h 1912775"/>
                    <a:gd name="connsiteX20" fmla="*/ 1418253 w 3331029"/>
                    <a:gd name="connsiteY20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827176 w 3331029"/>
                    <a:gd name="connsiteY13" fmla="*/ 279918 h 1912775"/>
                    <a:gd name="connsiteX14" fmla="*/ 2528596 w 3331029"/>
                    <a:gd name="connsiteY14" fmla="*/ 1212980 h 1912775"/>
                    <a:gd name="connsiteX15" fmla="*/ 2164702 w 3331029"/>
                    <a:gd name="connsiteY15" fmla="*/ 1782147 h 1912775"/>
                    <a:gd name="connsiteX16" fmla="*/ 1968760 w 3331029"/>
                    <a:gd name="connsiteY16" fmla="*/ 1446245 h 1912775"/>
                    <a:gd name="connsiteX17" fmla="*/ 1688841 w 3331029"/>
                    <a:gd name="connsiteY17" fmla="*/ 886408 h 1912775"/>
                    <a:gd name="connsiteX18" fmla="*/ 1558213 w 3331029"/>
                    <a:gd name="connsiteY18" fmla="*/ 457200 h 1912775"/>
                    <a:gd name="connsiteX19" fmla="*/ 1418253 w 3331029"/>
                    <a:gd name="connsiteY19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827176 w 3331029"/>
                    <a:gd name="connsiteY13" fmla="*/ 279918 h 1912775"/>
                    <a:gd name="connsiteX14" fmla="*/ 2164702 w 3331029"/>
                    <a:gd name="connsiteY14" fmla="*/ 1782147 h 1912775"/>
                    <a:gd name="connsiteX15" fmla="*/ 1968760 w 3331029"/>
                    <a:gd name="connsiteY15" fmla="*/ 1446245 h 1912775"/>
                    <a:gd name="connsiteX16" fmla="*/ 1688841 w 3331029"/>
                    <a:gd name="connsiteY16" fmla="*/ 886408 h 1912775"/>
                    <a:gd name="connsiteX17" fmla="*/ 1558213 w 3331029"/>
                    <a:gd name="connsiteY17" fmla="*/ 457200 h 1912775"/>
                    <a:gd name="connsiteX18" fmla="*/ 1418253 w 3331029"/>
                    <a:gd name="connsiteY18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968760 w 3331029"/>
                    <a:gd name="connsiteY14" fmla="*/ 1446245 h 1912775"/>
                    <a:gd name="connsiteX15" fmla="*/ 1688841 w 3331029"/>
                    <a:gd name="connsiteY15" fmla="*/ 886408 h 1912775"/>
                    <a:gd name="connsiteX16" fmla="*/ 1558213 w 3331029"/>
                    <a:gd name="connsiteY16" fmla="*/ 457200 h 1912775"/>
                    <a:gd name="connsiteX17" fmla="*/ 1418253 w 3331029"/>
                    <a:gd name="connsiteY17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968760 w 3331029"/>
                    <a:gd name="connsiteY14" fmla="*/ 1446245 h 1912775"/>
                    <a:gd name="connsiteX15" fmla="*/ 1688841 w 3331029"/>
                    <a:gd name="connsiteY15" fmla="*/ 886408 h 1912775"/>
                    <a:gd name="connsiteX16" fmla="*/ 1418253 w 3331029"/>
                    <a:gd name="connsiteY16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968760 w 3331029"/>
                    <a:gd name="connsiteY14" fmla="*/ 1446245 h 1912775"/>
                    <a:gd name="connsiteX15" fmla="*/ 1418253 w 3331029"/>
                    <a:gd name="connsiteY15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36914 w 3331029"/>
                    <a:gd name="connsiteY0" fmla="*/ 0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36914 w 3331029"/>
                    <a:gd name="connsiteY14" fmla="*/ 0 h 1912775"/>
                    <a:gd name="connsiteX0" fmla="*/ 1436914 w 3331029"/>
                    <a:gd name="connsiteY0" fmla="*/ 0 h 1912775"/>
                    <a:gd name="connsiteX1" fmla="*/ 223935 w 3331029"/>
                    <a:gd name="connsiteY1" fmla="*/ 699796 h 1912775"/>
                    <a:gd name="connsiteX2" fmla="*/ 130629 w 3331029"/>
                    <a:gd name="connsiteY2" fmla="*/ 989045 h 1912775"/>
                    <a:gd name="connsiteX3" fmla="*/ 0 w 3331029"/>
                    <a:gd name="connsiteY3" fmla="*/ 1614196 h 1912775"/>
                    <a:gd name="connsiteX4" fmla="*/ 746449 w 3331029"/>
                    <a:gd name="connsiteY4" fmla="*/ 1828800 h 1912775"/>
                    <a:gd name="connsiteX5" fmla="*/ 1735494 w 3331029"/>
                    <a:gd name="connsiteY5" fmla="*/ 1912775 h 1912775"/>
                    <a:gd name="connsiteX6" fmla="*/ 2948474 w 3331029"/>
                    <a:gd name="connsiteY6" fmla="*/ 1884784 h 1912775"/>
                    <a:gd name="connsiteX7" fmla="*/ 2901821 w 3331029"/>
                    <a:gd name="connsiteY7" fmla="*/ 1772816 h 1912775"/>
                    <a:gd name="connsiteX8" fmla="*/ 3247053 w 3331029"/>
                    <a:gd name="connsiteY8" fmla="*/ 783771 h 1912775"/>
                    <a:gd name="connsiteX9" fmla="*/ 3331029 w 3331029"/>
                    <a:gd name="connsiteY9" fmla="*/ 513184 h 1912775"/>
                    <a:gd name="connsiteX10" fmla="*/ 3331029 w 3331029"/>
                    <a:gd name="connsiteY10" fmla="*/ 158620 h 1912775"/>
                    <a:gd name="connsiteX11" fmla="*/ 2911151 w 3331029"/>
                    <a:gd name="connsiteY11" fmla="*/ 0 h 1912775"/>
                    <a:gd name="connsiteX12" fmla="*/ 2164702 w 3331029"/>
                    <a:gd name="connsiteY12" fmla="*/ 1782147 h 1912775"/>
                    <a:gd name="connsiteX13" fmla="*/ 1436914 w 3331029"/>
                    <a:gd name="connsiteY13" fmla="*/ 0 h 1912775"/>
                    <a:gd name="connsiteX0" fmla="*/ 1436914 w 3331029"/>
                    <a:gd name="connsiteY0" fmla="*/ 0 h 1912775"/>
                    <a:gd name="connsiteX1" fmla="*/ 130629 w 3331029"/>
                    <a:gd name="connsiteY1" fmla="*/ 989045 h 1912775"/>
                    <a:gd name="connsiteX2" fmla="*/ 0 w 3331029"/>
                    <a:gd name="connsiteY2" fmla="*/ 1614196 h 1912775"/>
                    <a:gd name="connsiteX3" fmla="*/ 746449 w 3331029"/>
                    <a:gd name="connsiteY3" fmla="*/ 1828800 h 1912775"/>
                    <a:gd name="connsiteX4" fmla="*/ 1735494 w 3331029"/>
                    <a:gd name="connsiteY4" fmla="*/ 1912775 h 1912775"/>
                    <a:gd name="connsiteX5" fmla="*/ 2948474 w 3331029"/>
                    <a:gd name="connsiteY5" fmla="*/ 1884784 h 1912775"/>
                    <a:gd name="connsiteX6" fmla="*/ 2901821 w 3331029"/>
                    <a:gd name="connsiteY6" fmla="*/ 1772816 h 1912775"/>
                    <a:gd name="connsiteX7" fmla="*/ 3247053 w 3331029"/>
                    <a:gd name="connsiteY7" fmla="*/ 783771 h 1912775"/>
                    <a:gd name="connsiteX8" fmla="*/ 3331029 w 3331029"/>
                    <a:gd name="connsiteY8" fmla="*/ 513184 h 1912775"/>
                    <a:gd name="connsiteX9" fmla="*/ 3331029 w 3331029"/>
                    <a:gd name="connsiteY9" fmla="*/ 158620 h 1912775"/>
                    <a:gd name="connsiteX10" fmla="*/ 2911151 w 3331029"/>
                    <a:gd name="connsiteY10" fmla="*/ 0 h 1912775"/>
                    <a:gd name="connsiteX11" fmla="*/ 2164702 w 3331029"/>
                    <a:gd name="connsiteY11" fmla="*/ 1782147 h 1912775"/>
                    <a:gd name="connsiteX12" fmla="*/ 1436914 w 3331029"/>
                    <a:gd name="connsiteY12" fmla="*/ 0 h 1912775"/>
                    <a:gd name="connsiteX0" fmla="*/ 1436914 w 3331029"/>
                    <a:gd name="connsiteY0" fmla="*/ 0 h 1912775"/>
                    <a:gd name="connsiteX1" fmla="*/ 0 w 3331029"/>
                    <a:gd name="connsiteY1" fmla="*/ 1614196 h 1912775"/>
                    <a:gd name="connsiteX2" fmla="*/ 746449 w 3331029"/>
                    <a:gd name="connsiteY2" fmla="*/ 1828800 h 1912775"/>
                    <a:gd name="connsiteX3" fmla="*/ 1735494 w 3331029"/>
                    <a:gd name="connsiteY3" fmla="*/ 1912775 h 1912775"/>
                    <a:gd name="connsiteX4" fmla="*/ 2948474 w 3331029"/>
                    <a:gd name="connsiteY4" fmla="*/ 1884784 h 1912775"/>
                    <a:gd name="connsiteX5" fmla="*/ 2901821 w 3331029"/>
                    <a:gd name="connsiteY5" fmla="*/ 1772816 h 1912775"/>
                    <a:gd name="connsiteX6" fmla="*/ 3247053 w 3331029"/>
                    <a:gd name="connsiteY6" fmla="*/ 783771 h 1912775"/>
                    <a:gd name="connsiteX7" fmla="*/ 3331029 w 3331029"/>
                    <a:gd name="connsiteY7" fmla="*/ 513184 h 1912775"/>
                    <a:gd name="connsiteX8" fmla="*/ 3331029 w 3331029"/>
                    <a:gd name="connsiteY8" fmla="*/ 158620 h 1912775"/>
                    <a:gd name="connsiteX9" fmla="*/ 2911151 w 3331029"/>
                    <a:gd name="connsiteY9" fmla="*/ 0 h 1912775"/>
                    <a:gd name="connsiteX10" fmla="*/ 2164702 w 3331029"/>
                    <a:gd name="connsiteY10" fmla="*/ 1782147 h 1912775"/>
                    <a:gd name="connsiteX11" fmla="*/ 1436914 w 3331029"/>
                    <a:gd name="connsiteY11" fmla="*/ 0 h 1912775"/>
                    <a:gd name="connsiteX0" fmla="*/ 1436914 w 3331029"/>
                    <a:gd name="connsiteY0" fmla="*/ 0 h 1912775"/>
                    <a:gd name="connsiteX1" fmla="*/ 0 w 3331029"/>
                    <a:gd name="connsiteY1" fmla="*/ 1614196 h 1912775"/>
                    <a:gd name="connsiteX2" fmla="*/ 746449 w 3331029"/>
                    <a:gd name="connsiteY2" fmla="*/ 1828800 h 1912775"/>
                    <a:gd name="connsiteX3" fmla="*/ 1735494 w 3331029"/>
                    <a:gd name="connsiteY3" fmla="*/ 1912775 h 1912775"/>
                    <a:gd name="connsiteX4" fmla="*/ 2948474 w 3331029"/>
                    <a:gd name="connsiteY4" fmla="*/ 1884784 h 1912775"/>
                    <a:gd name="connsiteX5" fmla="*/ 2901821 w 3331029"/>
                    <a:gd name="connsiteY5" fmla="*/ 1772816 h 1912775"/>
                    <a:gd name="connsiteX6" fmla="*/ 3247053 w 3331029"/>
                    <a:gd name="connsiteY6" fmla="*/ 783771 h 1912775"/>
                    <a:gd name="connsiteX7" fmla="*/ 3331029 w 3331029"/>
                    <a:gd name="connsiteY7" fmla="*/ 513184 h 1912775"/>
                    <a:gd name="connsiteX8" fmla="*/ 3331029 w 3331029"/>
                    <a:gd name="connsiteY8" fmla="*/ 158620 h 1912775"/>
                    <a:gd name="connsiteX9" fmla="*/ 2911151 w 3331029"/>
                    <a:gd name="connsiteY9" fmla="*/ 0 h 1912775"/>
                    <a:gd name="connsiteX10" fmla="*/ 2164702 w 3331029"/>
                    <a:gd name="connsiteY10" fmla="*/ 1782147 h 1912775"/>
                    <a:gd name="connsiteX11" fmla="*/ 1436914 w 3331029"/>
                    <a:gd name="connsiteY11" fmla="*/ 0 h 1912775"/>
                    <a:gd name="connsiteX0" fmla="*/ 1436914 w 3331029"/>
                    <a:gd name="connsiteY0" fmla="*/ 0 h 1912775"/>
                    <a:gd name="connsiteX1" fmla="*/ 0 w 3331029"/>
                    <a:gd name="connsiteY1" fmla="*/ 1614196 h 1912775"/>
                    <a:gd name="connsiteX2" fmla="*/ 746449 w 3331029"/>
                    <a:gd name="connsiteY2" fmla="*/ 1828800 h 1912775"/>
                    <a:gd name="connsiteX3" fmla="*/ 1735494 w 3331029"/>
                    <a:gd name="connsiteY3" fmla="*/ 1912775 h 1912775"/>
                    <a:gd name="connsiteX4" fmla="*/ 2948474 w 3331029"/>
                    <a:gd name="connsiteY4" fmla="*/ 1884784 h 1912775"/>
                    <a:gd name="connsiteX5" fmla="*/ 2901821 w 3331029"/>
                    <a:gd name="connsiteY5" fmla="*/ 1772816 h 1912775"/>
                    <a:gd name="connsiteX6" fmla="*/ 3247053 w 3331029"/>
                    <a:gd name="connsiteY6" fmla="*/ 783771 h 1912775"/>
                    <a:gd name="connsiteX7" fmla="*/ 3331029 w 3331029"/>
                    <a:gd name="connsiteY7" fmla="*/ 513184 h 1912775"/>
                    <a:gd name="connsiteX8" fmla="*/ 3331029 w 3331029"/>
                    <a:gd name="connsiteY8" fmla="*/ 158620 h 1912775"/>
                    <a:gd name="connsiteX9" fmla="*/ 2911151 w 3331029"/>
                    <a:gd name="connsiteY9" fmla="*/ 0 h 1912775"/>
                    <a:gd name="connsiteX10" fmla="*/ 2164702 w 3331029"/>
                    <a:gd name="connsiteY10" fmla="*/ 1782147 h 1912775"/>
                    <a:gd name="connsiteX11" fmla="*/ 1436914 w 3331029"/>
                    <a:gd name="connsiteY11" fmla="*/ 0 h 1912775"/>
                    <a:gd name="connsiteX0" fmla="*/ 1436914 w 3331029"/>
                    <a:gd name="connsiteY0" fmla="*/ 0 h 1912775"/>
                    <a:gd name="connsiteX1" fmla="*/ 0 w 3331029"/>
                    <a:gd name="connsiteY1" fmla="*/ 1614196 h 1912775"/>
                    <a:gd name="connsiteX2" fmla="*/ 746449 w 3331029"/>
                    <a:gd name="connsiteY2" fmla="*/ 1828800 h 1912775"/>
                    <a:gd name="connsiteX3" fmla="*/ 1735494 w 3331029"/>
                    <a:gd name="connsiteY3" fmla="*/ 1912775 h 1912775"/>
                    <a:gd name="connsiteX4" fmla="*/ 2948474 w 3331029"/>
                    <a:gd name="connsiteY4" fmla="*/ 1884784 h 1912775"/>
                    <a:gd name="connsiteX5" fmla="*/ 2901821 w 3331029"/>
                    <a:gd name="connsiteY5" fmla="*/ 1772816 h 1912775"/>
                    <a:gd name="connsiteX6" fmla="*/ 3247053 w 3331029"/>
                    <a:gd name="connsiteY6" fmla="*/ 783771 h 1912775"/>
                    <a:gd name="connsiteX7" fmla="*/ 3331029 w 3331029"/>
                    <a:gd name="connsiteY7" fmla="*/ 513184 h 1912775"/>
                    <a:gd name="connsiteX8" fmla="*/ 3331029 w 3331029"/>
                    <a:gd name="connsiteY8" fmla="*/ 158620 h 1912775"/>
                    <a:gd name="connsiteX9" fmla="*/ 2911151 w 3331029"/>
                    <a:gd name="connsiteY9" fmla="*/ 0 h 1912775"/>
                    <a:gd name="connsiteX10" fmla="*/ 2164702 w 3331029"/>
                    <a:gd name="connsiteY10" fmla="*/ 1782147 h 1912775"/>
                    <a:gd name="connsiteX11" fmla="*/ 1436914 w 3331029"/>
                    <a:gd name="connsiteY11" fmla="*/ 0 h 1912775"/>
                    <a:gd name="connsiteX0" fmla="*/ 1436914 w 3331029"/>
                    <a:gd name="connsiteY0" fmla="*/ 0 h 1912775"/>
                    <a:gd name="connsiteX1" fmla="*/ 0 w 3331029"/>
                    <a:gd name="connsiteY1" fmla="*/ 1614196 h 1912775"/>
                    <a:gd name="connsiteX2" fmla="*/ 1735494 w 3331029"/>
                    <a:gd name="connsiteY2" fmla="*/ 1912775 h 1912775"/>
                    <a:gd name="connsiteX3" fmla="*/ 2948474 w 3331029"/>
                    <a:gd name="connsiteY3" fmla="*/ 1884784 h 1912775"/>
                    <a:gd name="connsiteX4" fmla="*/ 2901821 w 3331029"/>
                    <a:gd name="connsiteY4" fmla="*/ 1772816 h 1912775"/>
                    <a:gd name="connsiteX5" fmla="*/ 3247053 w 3331029"/>
                    <a:gd name="connsiteY5" fmla="*/ 783771 h 1912775"/>
                    <a:gd name="connsiteX6" fmla="*/ 3331029 w 3331029"/>
                    <a:gd name="connsiteY6" fmla="*/ 513184 h 1912775"/>
                    <a:gd name="connsiteX7" fmla="*/ 3331029 w 3331029"/>
                    <a:gd name="connsiteY7" fmla="*/ 158620 h 1912775"/>
                    <a:gd name="connsiteX8" fmla="*/ 2911151 w 3331029"/>
                    <a:gd name="connsiteY8" fmla="*/ 0 h 1912775"/>
                    <a:gd name="connsiteX9" fmla="*/ 2164702 w 3331029"/>
                    <a:gd name="connsiteY9" fmla="*/ 1782147 h 1912775"/>
                    <a:gd name="connsiteX10" fmla="*/ 1436914 w 3331029"/>
                    <a:gd name="connsiteY10" fmla="*/ 0 h 1912775"/>
                    <a:gd name="connsiteX0" fmla="*/ 1436914 w 3331029"/>
                    <a:gd name="connsiteY0" fmla="*/ 0 h 1884784"/>
                    <a:gd name="connsiteX1" fmla="*/ 0 w 3331029"/>
                    <a:gd name="connsiteY1" fmla="*/ 1614196 h 1884784"/>
                    <a:gd name="connsiteX2" fmla="*/ 2948474 w 3331029"/>
                    <a:gd name="connsiteY2" fmla="*/ 1884784 h 1884784"/>
                    <a:gd name="connsiteX3" fmla="*/ 2901821 w 3331029"/>
                    <a:gd name="connsiteY3" fmla="*/ 1772816 h 1884784"/>
                    <a:gd name="connsiteX4" fmla="*/ 3247053 w 3331029"/>
                    <a:gd name="connsiteY4" fmla="*/ 783771 h 1884784"/>
                    <a:gd name="connsiteX5" fmla="*/ 3331029 w 3331029"/>
                    <a:gd name="connsiteY5" fmla="*/ 513184 h 1884784"/>
                    <a:gd name="connsiteX6" fmla="*/ 3331029 w 3331029"/>
                    <a:gd name="connsiteY6" fmla="*/ 158620 h 1884784"/>
                    <a:gd name="connsiteX7" fmla="*/ 2911151 w 3331029"/>
                    <a:gd name="connsiteY7" fmla="*/ 0 h 1884784"/>
                    <a:gd name="connsiteX8" fmla="*/ 2164702 w 3331029"/>
                    <a:gd name="connsiteY8" fmla="*/ 1782147 h 1884784"/>
                    <a:gd name="connsiteX9" fmla="*/ 1436914 w 3331029"/>
                    <a:gd name="connsiteY9" fmla="*/ 0 h 1884784"/>
                    <a:gd name="connsiteX0" fmla="*/ 1436914 w 3331029"/>
                    <a:gd name="connsiteY0" fmla="*/ 0 h 1884784"/>
                    <a:gd name="connsiteX1" fmla="*/ 0 w 3331029"/>
                    <a:gd name="connsiteY1" fmla="*/ 1614196 h 1884784"/>
                    <a:gd name="connsiteX2" fmla="*/ 2948474 w 3331029"/>
                    <a:gd name="connsiteY2" fmla="*/ 1884784 h 1884784"/>
                    <a:gd name="connsiteX3" fmla="*/ 2901821 w 3331029"/>
                    <a:gd name="connsiteY3" fmla="*/ 1772816 h 1884784"/>
                    <a:gd name="connsiteX4" fmla="*/ 3247053 w 3331029"/>
                    <a:gd name="connsiteY4" fmla="*/ 783771 h 1884784"/>
                    <a:gd name="connsiteX5" fmla="*/ 3331029 w 3331029"/>
                    <a:gd name="connsiteY5" fmla="*/ 513184 h 1884784"/>
                    <a:gd name="connsiteX6" fmla="*/ 3331029 w 3331029"/>
                    <a:gd name="connsiteY6" fmla="*/ 158620 h 1884784"/>
                    <a:gd name="connsiteX7" fmla="*/ 2911151 w 3331029"/>
                    <a:gd name="connsiteY7" fmla="*/ 0 h 1884784"/>
                    <a:gd name="connsiteX8" fmla="*/ 2164702 w 3331029"/>
                    <a:gd name="connsiteY8" fmla="*/ 1782147 h 1884784"/>
                    <a:gd name="connsiteX9" fmla="*/ 1436914 w 3331029"/>
                    <a:gd name="connsiteY9" fmla="*/ 0 h 1884784"/>
                    <a:gd name="connsiteX0" fmla="*/ 1436914 w 3331029"/>
                    <a:gd name="connsiteY0" fmla="*/ 0 h 1915295"/>
                    <a:gd name="connsiteX1" fmla="*/ 0 w 3331029"/>
                    <a:gd name="connsiteY1" fmla="*/ 1614196 h 1915295"/>
                    <a:gd name="connsiteX2" fmla="*/ 2948474 w 3331029"/>
                    <a:gd name="connsiteY2" fmla="*/ 1884784 h 1915295"/>
                    <a:gd name="connsiteX3" fmla="*/ 2901821 w 3331029"/>
                    <a:gd name="connsiteY3" fmla="*/ 1772816 h 1915295"/>
                    <a:gd name="connsiteX4" fmla="*/ 3247053 w 3331029"/>
                    <a:gd name="connsiteY4" fmla="*/ 783771 h 1915295"/>
                    <a:gd name="connsiteX5" fmla="*/ 3331029 w 3331029"/>
                    <a:gd name="connsiteY5" fmla="*/ 513184 h 1915295"/>
                    <a:gd name="connsiteX6" fmla="*/ 3331029 w 3331029"/>
                    <a:gd name="connsiteY6" fmla="*/ 158620 h 1915295"/>
                    <a:gd name="connsiteX7" fmla="*/ 2911151 w 3331029"/>
                    <a:gd name="connsiteY7" fmla="*/ 0 h 1915295"/>
                    <a:gd name="connsiteX8" fmla="*/ 2164702 w 3331029"/>
                    <a:gd name="connsiteY8" fmla="*/ 1782147 h 1915295"/>
                    <a:gd name="connsiteX9" fmla="*/ 1436914 w 3331029"/>
                    <a:gd name="connsiteY9" fmla="*/ 0 h 1915295"/>
                    <a:gd name="connsiteX0" fmla="*/ 1436914 w 3331029"/>
                    <a:gd name="connsiteY0" fmla="*/ 0 h 1915295"/>
                    <a:gd name="connsiteX1" fmla="*/ 0 w 3331029"/>
                    <a:gd name="connsiteY1" fmla="*/ 1614196 h 1915295"/>
                    <a:gd name="connsiteX2" fmla="*/ 2948474 w 3331029"/>
                    <a:gd name="connsiteY2" fmla="*/ 1884784 h 1915295"/>
                    <a:gd name="connsiteX3" fmla="*/ 2901821 w 3331029"/>
                    <a:gd name="connsiteY3" fmla="*/ 1772816 h 1915295"/>
                    <a:gd name="connsiteX4" fmla="*/ 3331029 w 3331029"/>
                    <a:gd name="connsiteY4" fmla="*/ 513184 h 1915295"/>
                    <a:gd name="connsiteX5" fmla="*/ 3331029 w 3331029"/>
                    <a:gd name="connsiteY5" fmla="*/ 158620 h 1915295"/>
                    <a:gd name="connsiteX6" fmla="*/ 2911151 w 3331029"/>
                    <a:gd name="connsiteY6" fmla="*/ 0 h 1915295"/>
                    <a:gd name="connsiteX7" fmla="*/ 2164702 w 3331029"/>
                    <a:gd name="connsiteY7" fmla="*/ 1782147 h 1915295"/>
                    <a:gd name="connsiteX8" fmla="*/ 1436914 w 3331029"/>
                    <a:gd name="connsiteY8" fmla="*/ 0 h 1915295"/>
                    <a:gd name="connsiteX0" fmla="*/ 1436914 w 3331029"/>
                    <a:gd name="connsiteY0" fmla="*/ 0 h 1915295"/>
                    <a:gd name="connsiteX1" fmla="*/ 0 w 3331029"/>
                    <a:gd name="connsiteY1" fmla="*/ 1614196 h 1915295"/>
                    <a:gd name="connsiteX2" fmla="*/ 2948474 w 3331029"/>
                    <a:gd name="connsiteY2" fmla="*/ 1884784 h 1915295"/>
                    <a:gd name="connsiteX3" fmla="*/ 2901821 w 3331029"/>
                    <a:gd name="connsiteY3" fmla="*/ 1772816 h 1915295"/>
                    <a:gd name="connsiteX4" fmla="*/ 3331029 w 3331029"/>
                    <a:gd name="connsiteY4" fmla="*/ 513184 h 1915295"/>
                    <a:gd name="connsiteX5" fmla="*/ 3331029 w 3331029"/>
                    <a:gd name="connsiteY5" fmla="*/ 158620 h 1915295"/>
                    <a:gd name="connsiteX6" fmla="*/ 2911151 w 3331029"/>
                    <a:gd name="connsiteY6" fmla="*/ 0 h 1915295"/>
                    <a:gd name="connsiteX7" fmla="*/ 2164702 w 3331029"/>
                    <a:gd name="connsiteY7" fmla="*/ 1782147 h 1915295"/>
                    <a:gd name="connsiteX8" fmla="*/ 1436914 w 3331029"/>
                    <a:gd name="connsiteY8" fmla="*/ 0 h 1915295"/>
                    <a:gd name="connsiteX0" fmla="*/ 1414689 w 3308804"/>
                    <a:gd name="connsiteY0" fmla="*/ 0 h 1917453"/>
                    <a:gd name="connsiteX1" fmla="*/ 0 w 3308804"/>
                    <a:gd name="connsiteY1" fmla="*/ 1623721 h 1917453"/>
                    <a:gd name="connsiteX2" fmla="*/ 2926249 w 3308804"/>
                    <a:gd name="connsiteY2" fmla="*/ 1884784 h 1917453"/>
                    <a:gd name="connsiteX3" fmla="*/ 2879596 w 3308804"/>
                    <a:gd name="connsiteY3" fmla="*/ 1772816 h 1917453"/>
                    <a:gd name="connsiteX4" fmla="*/ 3308804 w 3308804"/>
                    <a:gd name="connsiteY4" fmla="*/ 513184 h 1917453"/>
                    <a:gd name="connsiteX5" fmla="*/ 3308804 w 3308804"/>
                    <a:gd name="connsiteY5" fmla="*/ 158620 h 1917453"/>
                    <a:gd name="connsiteX6" fmla="*/ 2888926 w 3308804"/>
                    <a:gd name="connsiteY6" fmla="*/ 0 h 1917453"/>
                    <a:gd name="connsiteX7" fmla="*/ 2142477 w 3308804"/>
                    <a:gd name="connsiteY7" fmla="*/ 1782147 h 1917453"/>
                    <a:gd name="connsiteX8" fmla="*/ 1414689 w 3308804"/>
                    <a:gd name="connsiteY8" fmla="*/ 0 h 1917453"/>
                    <a:gd name="connsiteX0" fmla="*/ 1417845 w 3311960"/>
                    <a:gd name="connsiteY0" fmla="*/ 0 h 1917453"/>
                    <a:gd name="connsiteX1" fmla="*/ 3156 w 3311960"/>
                    <a:gd name="connsiteY1" fmla="*/ 1623721 h 1917453"/>
                    <a:gd name="connsiteX2" fmla="*/ 2929405 w 3311960"/>
                    <a:gd name="connsiteY2" fmla="*/ 1884784 h 1917453"/>
                    <a:gd name="connsiteX3" fmla="*/ 2882752 w 3311960"/>
                    <a:gd name="connsiteY3" fmla="*/ 1772816 h 1917453"/>
                    <a:gd name="connsiteX4" fmla="*/ 3311960 w 3311960"/>
                    <a:gd name="connsiteY4" fmla="*/ 513184 h 1917453"/>
                    <a:gd name="connsiteX5" fmla="*/ 3311960 w 3311960"/>
                    <a:gd name="connsiteY5" fmla="*/ 158620 h 1917453"/>
                    <a:gd name="connsiteX6" fmla="*/ 2892082 w 3311960"/>
                    <a:gd name="connsiteY6" fmla="*/ 0 h 1917453"/>
                    <a:gd name="connsiteX7" fmla="*/ 2145633 w 3311960"/>
                    <a:gd name="connsiteY7" fmla="*/ 1782147 h 1917453"/>
                    <a:gd name="connsiteX8" fmla="*/ 1417845 w 3311960"/>
                    <a:gd name="connsiteY8" fmla="*/ 0 h 1917453"/>
                    <a:gd name="connsiteX0" fmla="*/ 1421914 w 3316029"/>
                    <a:gd name="connsiteY0" fmla="*/ 0 h 1917453"/>
                    <a:gd name="connsiteX1" fmla="*/ 7225 w 3316029"/>
                    <a:gd name="connsiteY1" fmla="*/ 1623721 h 1917453"/>
                    <a:gd name="connsiteX2" fmla="*/ 2933474 w 3316029"/>
                    <a:gd name="connsiteY2" fmla="*/ 1884784 h 1917453"/>
                    <a:gd name="connsiteX3" fmla="*/ 2886821 w 3316029"/>
                    <a:gd name="connsiteY3" fmla="*/ 1772816 h 1917453"/>
                    <a:gd name="connsiteX4" fmla="*/ 3316029 w 3316029"/>
                    <a:gd name="connsiteY4" fmla="*/ 513184 h 1917453"/>
                    <a:gd name="connsiteX5" fmla="*/ 3316029 w 3316029"/>
                    <a:gd name="connsiteY5" fmla="*/ 158620 h 1917453"/>
                    <a:gd name="connsiteX6" fmla="*/ 2896151 w 3316029"/>
                    <a:gd name="connsiteY6" fmla="*/ 0 h 1917453"/>
                    <a:gd name="connsiteX7" fmla="*/ 2149702 w 3316029"/>
                    <a:gd name="connsiteY7" fmla="*/ 1782147 h 1917453"/>
                    <a:gd name="connsiteX8" fmla="*/ 1421914 w 3316029"/>
                    <a:gd name="connsiteY8" fmla="*/ 0 h 1917453"/>
                    <a:gd name="connsiteX0" fmla="*/ 1421914 w 3316029"/>
                    <a:gd name="connsiteY0" fmla="*/ 0 h 1917453"/>
                    <a:gd name="connsiteX1" fmla="*/ 7225 w 3316029"/>
                    <a:gd name="connsiteY1" fmla="*/ 1623721 h 1917453"/>
                    <a:gd name="connsiteX2" fmla="*/ 2933474 w 3316029"/>
                    <a:gd name="connsiteY2" fmla="*/ 1884784 h 1917453"/>
                    <a:gd name="connsiteX3" fmla="*/ 2886821 w 3316029"/>
                    <a:gd name="connsiteY3" fmla="*/ 1772816 h 1917453"/>
                    <a:gd name="connsiteX4" fmla="*/ 3316029 w 3316029"/>
                    <a:gd name="connsiteY4" fmla="*/ 513184 h 1917453"/>
                    <a:gd name="connsiteX5" fmla="*/ 3316029 w 3316029"/>
                    <a:gd name="connsiteY5" fmla="*/ 158620 h 1917453"/>
                    <a:gd name="connsiteX6" fmla="*/ 2896151 w 3316029"/>
                    <a:gd name="connsiteY6" fmla="*/ 0 h 1917453"/>
                    <a:gd name="connsiteX7" fmla="*/ 2149702 w 3316029"/>
                    <a:gd name="connsiteY7" fmla="*/ 1782147 h 1917453"/>
                    <a:gd name="connsiteX8" fmla="*/ 1421914 w 3316029"/>
                    <a:gd name="connsiteY8" fmla="*/ 0 h 1917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16029" h="1917453">
                      <a:moveTo>
                        <a:pt x="1421914" y="0"/>
                      </a:moveTo>
                      <a:cubicBezTo>
                        <a:pt x="-316689" y="435428"/>
                        <a:pt x="45908" y="1617501"/>
                        <a:pt x="7225" y="1623721"/>
                      </a:cubicBezTo>
                      <a:cubicBezTo>
                        <a:pt x="868946" y="1956513"/>
                        <a:pt x="1941319" y="1943878"/>
                        <a:pt x="2933474" y="1884784"/>
                      </a:cubicBezTo>
                      <a:lnTo>
                        <a:pt x="2886821" y="1772816"/>
                      </a:lnTo>
                      <a:lnTo>
                        <a:pt x="3316029" y="513184"/>
                      </a:lnTo>
                      <a:lnTo>
                        <a:pt x="3316029" y="158620"/>
                      </a:lnTo>
                      <a:lnTo>
                        <a:pt x="2896151" y="0"/>
                      </a:lnTo>
                      <a:cubicBezTo>
                        <a:pt x="2731310" y="584719"/>
                        <a:pt x="2473163" y="1374710"/>
                        <a:pt x="2149702" y="1782147"/>
                      </a:cubicBezTo>
                      <a:cubicBezTo>
                        <a:pt x="1826241" y="1377820"/>
                        <a:pt x="1568094" y="572278"/>
                        <a:pt x="1421914" y="0"/>
                      </a:cubicBezTo>
                      <a:close/>
                    </a:path>
                  </a:pathLst>
                </a:cu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9" name="Freeform 49"/>
                <p:cNvSpPr/>
                <p:nvPr/>
              </p:nvSpPr>
              <p:spPr>
                <a:xfrm>
                  <a:off x="7703901" y="4266374"/>
                  <a:ext cx="426246" cy="1117201"/>
                </a:xfrm>
                <a:custGeom>
                  <a:avLst/>
                  <a:gdLst>
                    <a:gd name="connsiteX0" fmla="*/ 73823 w 426246"/>
                    <a:gd name="connsiteY0" fmla="*/ 402431 h 1117201"/>
                    <a:gd name="connsiteX1" fmla="*/ 352424 w 426246"/>
                    <a:gd name="connsiteY1" fmla="*/ 402431 h 1117201"/>
                    <a:gd name="connsiteX2" fmla="*/ 426246 w 426246"/>
                    <a:gd name="connsiteY2" fmla="*/ 726281 h 1117201"/>
                    <a:gd name="connsiteX3" fmla="*/ 426245 w 426246"/>
                    <a:gd name="connsiteY3" fmla="*/ 726281 h 1117201"/>
                    <a:gd name="connsiteX4" fmla="*/ 213123 w 426246"/>
                    <a:gd name="connsiteY4" fmla="*/ 1117201 h 1117201"/>
                    <a:gd name="connsiteX5" fmla="*/ 0 w 426246"/>
                    <a:gd name="connsiteY5" fmla="*/ 726281 h 1117201"/>
                    <a:gd name="connsiteX6" fmla="*/ 1 w 426246"/>
                    <a:gd name="connsiteY6" fmla="*/ 726281 h 1117201"/>
                    <a:gd name="connsiteX7" fmla="*/ 46437 w 426246"/>
                    <a:gd name="connsiteY7" fmla="*/ 0 h 1117201"/>
                    <a:gd name="connsiteX8" fmla="*/ 379811 w 426246"/>
                    <a:gd name="connsiteY8" fmla="*/ 0 h 1117201"/>
                    <a:gd name="connsiteX9" fmla="*/ 426246 w 426246"/>
                    <a:gd name="connsiteY9" fmla="*/ 46435 h 1117201"/>
                    <a:gd name="connsiteX10" fmla="*/ 358380 w 426246"/>
                    <a:gd name="connsiteY10" fmla="*/ 335756 h 1117201"/>
                    <a:gd name="connsiteX11" fmla="*/ 65488 w 426246"/>
                    <a:gd name="connsiteY11" fmla="*/ 335756 h 1117201"/>
                    <a:gd name="connsiteX12" fmla="*/ 2 w 426246"/>
                    <a:gd name="connsiteY12" fmla="*/ 46435 h 1117201"/>
                    <a:gd name="connsiteX13" fmla="*/ 46437 w 426246"/>
                    <a:gd name="connsiteY13" fmla="*/ 0 h 1117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6246" h="1117201">
                      <a:moveTo>
                        <a:pt x="73823" y="402431"/>
                      </a:moveTo>
                      <a:lnTo>
                        <a:pt x="352424" y="402431"/>
                      </a:lnTo>
                      <a:lnTo>
                        <a:pt x="426246" y="726281"/>
                      </a:lnTo>
                      <a:lnTo>
                        <a:pt x="426245" y="726281"/>
                      </a:lnTo>
                      <a:lnTo>
                        <a:pt x="213123" y="1117201"/>
                      </a:lnTo>
                      <a:lnTo>
                        <a:pt x="0" y="726281"/>
                      </a:lnTo>
                      <a:lnTo>
                        <a:pt x="1" y="726281"/>
                      </a:lnTo>
                      <a:close/>
                      <a:moveTo>
                        <a:pt x="46437" y="0"/>
                      </a:moveTo>
                      <a:lnTo>
                        <a:pt x="379811" y="0"/>
                      </a:lnTo>
                      <a:cubicBezTo>
                        <a:pt x="405456" y="0"/>
                        <a:pt x="426246" y="20790"/>
                        <a:pt x="426246" y="46435"/>
                      </a:cubicBezTo>
                      <a:lnTo>
                        <a:pt x="358380" y="335756"/>
                      </a:lnTo>
                      <a:lnTo>
                        <a:pt x="65488" y="335756"/>
                      </a:lnTo>
                      <a:cubicBezTo>
                        <a:pt x="49813" y="273249"/>
                        <a:pt x="2" y="102394"/>
                        <a:pt x="2" y="46435"/>
                      </a:cubicBezTo>
                      <a:cubicBezTo>
                        <a:pt x="2" y="20790"/>
                        <a:pt x="20792" y="0"/>
                        <a:pt x="46437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0" name="Freeform 50"/>
                <p:cNvSpPr/>
                <p:nvPr/>
              </p:nvSpPr>
              <p:spPr>
                <a:xfrm>
                  <a:off x="8847534" y="3857942"/>
                  <a:ext cx="1547508" cy="2041525"/>
                </a:xfrm>
                <a:custGeom>
                  <a:avLst/>
                  <a:gdLst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50850 w 1543050"/>
                    <a:gd name="connsiteY16" fmla="*/ 939800 h 2041525"/>
                    <a:gd name="connsiteX17" fmla="*/ 539750 w 1543050"/>
                    <a:gd name="connsiteY17" fmla="*/ 679450 h 2041525"/>
                    <a:gd name="connsiteX18" fmla="*/ 558800 w 1543050"/>
                    <a:gd name="connsiteY18" fmla="*/ 536575 h 2041525"/>
                    <a:gd name="connsiteX19" fmla="*/ 552450 w 1543050"/>
                    <a:gd name="connsiteY19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50850 w 1543050"/>
                    <a:gd name="connsiteY16" fmla="*/ 939800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50850 w 1543050"/>
                    <a:gd name="connsiteY16" fmla="*/ 939800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50850 w 1543050"/>
                    <a:gd name="connsiteY16" fmla="*/ 939800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50850 w 1543050"/>
                    <a:gd name="connsiteY16" fmla="*/ 939800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63550 w 1543050"/>
                    <a:gd name="connsiteY16" fmla="*/ 930275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2450 w 1543050"/>
                    <a:gd name="connsiteY17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2450 w 1543050"/>
                    <a:gd name="connsiteY17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2450 w 1543050"/>
                    <a:gd name="connsiteY17" fmla="*/ 9525 h 2041525"/>
                    <a:gd name="connsiteX0" fmla="*/ 56197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61975 w 1543050"/>
                    <a:gd name="connsiteY17" fmla="*/ 3175 h 2041525"/>
                    <a:gd name="connsiteX0" fmla="*/ 56197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6197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20775 w 1543050"/>
                    <a:gd name="connsiteY11" fmla="*/ 12700 h 2041525"/>
                    <a:gd name="connsiteX12" fmla="*/ 996950 w 1543050"/>
                    <a:gd name="connsiteY12" fmla="*/ 12700 h 2041525"/>
                    <a:gd name="connsiteX13" fmla="*/ 1079500 w 1543050"/>
                    <a:gd name="connsiteY13" fmla="*/ 936625 h 2041525"/>
                    <a:gd name="connsiteX14" fmla="*/ 463550 w 1543050"/>
                    <a:gd name="connsiteY14" fmla="*/ 930275 h 2041525"/>
                    <a:gd name="connsiteX15" fmla="*/ 555625 w 1543050"/>
                    <a:gd name="connsiteY15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20775 w 1543050"/>
                    <a:gd name="connsiteY10" fmla="*/ 12700 h 2041525"/>
                    <a:gd name="connsiteX11" fmla="*/ 996950 w 1543050"/>
                    <a:gd name="connsiteY11" fmla="*/ 12700 h 2041525"/>
                    <a:gd name="connsiteX12" fmla="*/ 1079500 w 1543050"/>
                    <a:gd name="connsiteY12" fmla="*/ 936625 h 2041525"/>
                    <a:gd name="connsiteX13" fmla="*/ 463550 w 1543050"/>
                    <a:gd name="connsiteY13" fmla="*/ 930275 h 2041525"/>
                    <a:gd name="connsiteX14" fmla="*/ 555625 w 1543050"/>
                    <a:gd name="connsiteY14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0 w 1543050"/>
                    <a:gd name="connsiteY3" fmla="*/ 1873250 h 2041525"/>
                    <a:gd name="connsiteX4" fmla="*/ 57150 w 1543050"/>
                    <a:gd name="connsiteY4" fmla="*/ 1997075 h 2041525"/>
                    <a:gd name="connsiteX5" fmla="*/ 171450 w 1543050"/>
                    <a:gd name="connsiteY5" fmla="*/ 2041525 h 2041525"/>
                    <a:gd name="connsiteX6" fmla="*/ 1381125 w 1543050"/>
                    <a:gd name="connsiteY6" fmla="*/ 2041525 h 2041525"/>
                    <a:gd name="connsiteX7" fmla="*/ 1508125 w 1543050"/>
                    <a:gd name="connsiteY7" fmla="*/ 1990725 h 2041525"/>
                    <a:gd name="connsiteX8" fmla="*/ 1543050 w 1543050"/>
                    <a:gd name="connsiteY8" fmla="*/ 180657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16025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43050 w 1543050"/>
                    <a:gd name="connsiteY6" fmla="*/ 1806575 h 2041525"/>
                    <a:gd name="connsiteX7" fmla="*/ 1244600 w 1543050"/>
                    <a:gd name="connsiteY7" fmla="*/ 96202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171450 w 1543050"/>
                    <a:gd name="connsiteY3" fmla="*/ 2041525 h 2041525"/>
                    <a:gd name="connsiteX4" fmla="*/ 1381125 w 1543050"/>
                    <a:gd name="connsiteY4" fmla="*/ 2041525 h 2041525"/>
                    <a:gd name="connsiteX5" fmla="*/ 1543050 w 1543050"/>
                    <a:gd name="connsiteY5" fmla="*/ 1806575 h 2041525"/>
                    <a:gd name="connsiteX6" fmla="*/ 1244600 w 1543050"/>
                    <a:gd name="connsiteY6" fmla="*/ 962025 h 2041525"/>
                    <a:gd name="connsiteX7" fmla="*/ 1120775 w 1543050"/>
                    <a:gd name="connsiteY7" fmla="*/ 12700 h 2041525"/>
                    <a:gd name="connsiteX8" fmla="*/ 996950 w 1543050"/>
                    <a:gd name="connsiteY8" fmla="*/ 12700 h 2041525"/>
                    <a:gd name="connsiteX9" fmla="*/ 1079500 w 1543050"/>
                    <a:gd name="connsiteY9" fmla="*/ 936625 h 2041525"/>
                    <a:gd name="connsiteX10" fmla="*/ 463550 w 1543050"/>
                    <a:gd name="connsiteY10" fmla="*/ 930275 h 2041525"/>
                    <a:gd name="connsiteX11" fmla="*/ 555625 w 1543050"/>
                    <a:gd name="connsiteY11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171450 w 1543050"/>
                    <a:gd name="connsiteY3" fmla="*/ 2041525 h 2041525"/>
                    <a:gd name="connsiteX4" fmla="*/ 1381125 w 1543050"/>
                    <a:gd name="connsiteY4" fmla="*/ 2041525 h 2041525"/>
                    <a:gd name="connsiteX5" fmla="*/ 1543050 w 1543050"/>
                    <a:gd name="connsiteY5" fmla="*/ 1806575 h 2041525"/>
                    <a:gd name="connsiteX6" fmla="*/ 1244600 w 1543050"/>
                    <a:gd name="connsiteY6" fmla="*/ 962025 h 2041525"/>
                    <a:gd name="connsiteX7" fmla="*/ 1120775 w 1543050"/>
                    <a:gd name="connsiteY7" fmla="*/ 12700 h 2041525"/>
                    <a:gd name="connsiteX8" fmla="*/ 996950 w 1543050"/>
                    <a:gd name="connsiteY8" fmla="*/ 12700 h 2041525"/>
                    <a:gd name="connsiteX9" fmla="*/ 1079500 w 1543050"/>
                    <a:gd name="connsiteY9" fmla="*/ 936625 h 2041525"/>
                    <a:gd name="connsiteX10" fmla="*/ 463550 w 1543050"/>
                    <a:gd name="connsiteY10" fmla="*/ 930275 h 2041525"/>
                    <a:gd name="connsiteX11" fmla="*/ 555625 w 1543050"/>
                    <a:gd name="connsiteY11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171450 w 1543050"/>
                    <a:gd name="connsiteY3" fmla="*/ 2041525 h 2041525"/>
                    <a:gd name="connsiteX4" fmla="*/ 1381125 w 1543050"/>
                    <a:gd name="connsiteY4" fmla="*/ 2041525 h 2041525"/>
                    <a:gd name="connsiteX5" fmla="*/ 1543050 w 1543050"/>
                    <a:gd name="connsiteY5" fmla="*/ 1806575 h 2041525"/>
                    <a:gd name="connsiteX6" fmla="*/ 1244600 w 1543050"/>
                    <a:gd name="connsiteY6" fmla="*/ 962025 h 2041525"/>
                    <a:gd name="connsiteX7" fmla="*/ 1120775 w 1543050"/>
                    <a:gd name="connsiteY7" fmla="*/ 12700 h 2041525"/>
                    <a:gd name="connsiteX8" fmla="*/ 996950 w 1543050"/>
                    <a:gd name="connsiteY8" fmla="*/ 12700 h 2041525"/>
                    <a:gd name="connsiteX9" fmla="*/ 1079500 w 1543050"/>
                    <a:gd name="connsiteY9" fmla="*/ 936625 h 2041525"/>
                    <a:gd name="connsiteX10" fmla="*/ 463550 w 1543050"/>
                    <a:gd name="connsiteY10" fmla="*/ 930275 h 2041525"/>
                    <a:gd name="connsiteX11" fmla="*/ 555625 w 1543050"/>
                    <a:gd name="connsiteY11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171450 w 1543050"/>
                    <a:gd name="connsiteY3" fmla="*/ 2041525 h 2041525"/>
                    <a:gd name="connsiteX4" fmla="*/ 1381125 w 1543050"/>
                    <a:gd name="connsiteY4" fmla="*/ 2041525 h 2041525"/>
                    <a:gd name="connsiteX5" fmla="*/ 1543050 w 1543050"/>
                    <a:gd name="connsiteY5" fmla="*/ 1806575 h 2041525"/>
                    <a:gd name="connsiteX6" fmla="*/ 1244600 w 1543050"/>
                    <a:gd name="connsiteY6" fmla="*/ 962025 h 2041525"/>
                    <a:gd name="connsiteX7" fmla="*/ 1120775 w 1543050"/>
                    <a:gd name="connsiteY7" fmla="*/ 12700 h 2041525"/>
                    <a:gd name="connsiteX8" fmla="*/ 996950 w 1543050"/>
                    <a:gd name="connsiteY8" fmla="*/ 12700 h 2041525"/>
                    <a:gd name="connsiteX9" fmla="*/ 1079500 w 1543050"/>
                    <a:gd name="connsiteY9" fmla="*/ 936625 h 2041525"/>
                    <a:gd name="connsiteX10" fmla="*/ 463550 w 1543050"/>
                    <a:gd name="connsiteY10" fmla="*/ 930275 h 2041525"/>
                    <a:gd name="connsiteX11" fmla="*/ 555625 w 1543050"/>
                    <a:gd name="connsiteY11" fmla="*/ 3175 h 2041525"/>
                    <a:gd name="connsiteX0" fmla="*/ 555625 w 1546413"/>
                    <a:gd name="connsiteY0" fmla="*/ 3175 h 2041525"/>
                    <a:gd name="connsiteX1" fmla="*/ 422275 w 1546413"/>
                    <a:gd name="connsiteY1" fmla="*/ 0 h 2041525"/>
                    <a:gd name="connsiteX2" fmla="*/ 0 w 1546413"/>
                    <a:gd name="connsiteY2" fmla="*/ 1873250 h 2041525"/>
                    <a:gd name="connsiteX3" fmla="*/ 171450 w 1546413"/>
                    <a:gd name="connsiteY3" fmla="*/ 2041525 h 2041525"/>
                    <a:gd name="connsiteX4" fmla="*/ 1381125 w 1546413"/>
                    <a:gd name="connsiteY4" fmla="*/ 2041525 h 2041525"/>
                    <a:gd name="connsiteX5" fmla="*/ 1543050 w 1546413"/>
                    <a:gd name="connsiteY5" fmla="*/ 1806575 h 2041525"/>
                    <a:gd name="connsiteX6" fmla="*/ 1244600 w 1546413"/>
                    <a:gd name="connsiteY6" fmla="*/ 962025 h 2041525"/>
                    <a:gd name="connsiteX7" fmla="*/ 1120775 w 1546413"/>
                    <a:gd name="connsiteY7" fmla="*/ 12700 h 2041525"/>
                    <a:gd name="connsiteX8" fmla="*/ 996950 w 1546413"/>
                    <a:gd name="connsiteY8" fmla="*/ 12700 h 2041525"/>
                    <a:gd name="connsiteX9" fmla="*/ 1079500 w 1546413"/>
                    <a:gd name="connsiteY9" fmla="*/ 936625 h 2041525"/>
                    <a:gd name="connsiteX10" fmla="*/ 463550 w 1546413"/>
                    <a:gd name="connsiteY10" fmla="*/ 930275 h 2041525"/>
                    <a:gd name="connsiteX11" fmla="*/ 555625 w 1546413"/>
                    <a:gd name="connsiteY11" fmla="*/ 3175 h 2041525"/>
                    <a:gd name="connsiteX0" fmla="*/ 557163 w 1547951"/>
                    <a:gd name="connsiteY0" fmla="*/ 3175 h 2041525"/>
                    <a:gd name="connsiteX1" fmla="*/ 423813 w 1547951"/>
                    <a:gd name="connsiteY1" fmla="*/ 0 h 2041525"/>
                    <a:gd name="connsiteX2" fmla="*/ 1538 w 1547951"/>
                    <a:gd name="connsiteY2" fmla="*/ 1873250 h 2041525"/>
                    <a:gd name="connsiteX3" fmla="*/ 172988 w 1547951"/>
                    <a:gd name="connsiteY3" fmla="*/ 2041525 h 2041525"/>
                    <a:gd name="connsiteX4" fmla="*/ 1382663 w 1547951"/>
                    <a:gd name="connsiteY4" fmla="*/ 2041525 h 2041525"/>
                    <a:gd name="connsiteX5" fmla="*/ 1544588 w 1547951"/>
                    <a:gd name="connsiteY5" fmla="*/ 1806575 h 2041525"/>
                    <a:gd name="connsiteX6" fmla="*/ 1246138 w 1547951"/>
                    <a:gd name="connsiteY6" fmla="*/ 962025 h 2041525"/>
                    <a:gd name="connsiteX7" fmla="*/ 1122313 w 1547951"/>
                    <a:gd name="connsiteY7" fmla="*/ 12700 h 2041525"/>
                    <a:gd name="connsiteX8" fmla="*/ 998488 w 1547951"/>
                    <a:gd name="connsiteY8" fmla="*/ 12700 h 2041525"/>
                    <a:gd name="connsiteX9" fmla="*/ 1081038 w 1547951"/>
                    <a:gd name="connsiteY9" fmla="*/ 936625 h 2041525"/>
                    <a:gd name="connsiteX10" fmla="*/ 465088 w 1547951"/>
                    <a:gd name="connsiteY10" fmla="*/ 930275 h 2041525"/>
                    <a:gd name="connsiteX11" fmla="*/ 557163 w 1547951"/>
                    <a:gd name="connsiteY11" fmla="*/ 3175 h 2041525"/>
                    <a:gd name="connsiteX0" fmla="*/ 557820 w 1548608"/>
                    <a:gd name="connsiteY0" fmla="*/ 3175 h 2041525"/>
                    <a:gd name="connsiteX1" fmla="*/ 424470 w 1548608"/>
                    <a:gd name="connsiteY1" fmla="*/ 0 h 2041525"/>
                    <a:gd name="connsiteX2" fmla="*/ 2195 w 1548608"/>
                    <a:gd name="connsiteY2" fmla="*/ 1873250 h 2041525"/>
                    <a:gd name="connsiteX3" fmla="*/ 173645 w 1548608"/>
                    <a:gd name="connsiteY3" fmla="*/ 2041525 h 2041525"/>
                    <a:gd name="connsiteX4" fmla="*/ 1383320 w 1548608"/>
                    <a:gd name="connsiteY4" fmla="*/ 2041525 h 2041525"/>
                    <a:gd name="connsiteX5" fmla="*/ 1545245 w 1548608"/>
                    <a:gd name="connsiteY5" fmla="*/ 1806575 h 2041525"/>
                    <a:gd name="connsiteX6" fmla="*/ 1246795 w 1548608"/>
                    <a:gd name="connsiteY6" fmla="*/ 962025 h 2041525"/>
                    <a:gd name="connsiteX7" fmla="*/ 1122970 w 1548608"/>
                    <a:gd name="connsiteY7" fmla="*/ 12700 h 2041525"/>
                    <a:gd name="connsiteX8" fmla="*/ 999145 w 1548608"/>
                    <a:gd name="connsiteY8" fmla="*/ 12700 h 2041525"/>
                    <a:gd name="connsiteX9" fmla="*/ 1081695 w 1548608"/>
                    <a:gd name="connsiteY9" fmla="*/ 936625 h 2041525"/>
                    <a:gd name="connsiteX10" fmla="*/ 465745 w 1548608"/>
                    <a:gd name="connsiteY10" fmla="*/ 930275 h 2041525"/>
                    <a:gd name="connsiteX11" fmla="*/ 557820 w 1548608"/>
                    <a:gd name="connsiteY11" fmla="*/ 3175 h 2041525"/>
                    <a:gd name="connsiteX0" fmla="*/ 557820 w 1547508"/>
                    <a:gd name="connsiteY0" fmla="*/ 3175 h 2041525"/>
                    <a:gd name="connsiteX1" fmla="*/ 424470 w 1547508"/>
                    <a:gd name="connsiteY1" fmla="*/ 0 h 2041525"/>
                    <a:gd name="connsiteX2" fmla="*/ 2195 w 1547508"/>
                    <a:gd name="connsiteY2" fmla="*/ 1873250 h 2041525"/>
                    <a:gd name="connsiteX3" fmla="*/ 173645 w 1547508"/>
                    <a:gd name="connsiteY3" fmla="*/ 2041525 h 2041525"/>
                    <a:gd name="connsiteX4" fmla="*/ 1383320 w 1547508"/>
                    <a:gd name="connsiteY4" fmla="*/ 2041525 h 2041525"/>
                    <a:gd name="connsiteX5" fmla="*/ 1545245 w 1547508"/>
                    <a:gd name="connsiteY5" fmla="*/ 1806575 h 2041525"/>
                    <a:gd name="connsiteX6" fmla="*/ 1246795 w 1547508"/>
                    <a:gd name="connsiteY6" fmla="*/ 962025 h 2041525"/>
                    <a:gd name="connsiteX7" fmla="*/ 1122970 w 1547508"/>
                    <a:gd name="connsiteY7" fmla="*/ 12700 h 2041525"/>
                    <a:gd name="connsiteX8" fmla="*/ 999145 w 1547508"/>
                    <a:gd name="connsiteY8" fmla="*/ 12700 h 2041525"/>
                    <a:gd name="connsiteX9" fmla="*/ 1081695 w 1547508"/>
                    <a:gd name="connsiteY9" fmla="*/ 936625 h 2041525"/>
                    <a:gd name="connsiteX10" fmla="*/ 465745 w 1547508"/>
                    <a:gd name="connsiteY10" fmla="*/ 930275 h 2041525"/>
                    <a:gd name="connsiteX11" fmla="*/ 557820 w 1547508"/>
                    <a:gd name="connsiteY11" fmla="*/ 3175 h 2041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547508" h="2041525">
                      <a:moveTo>
                        <a:pt x="557820" y="3175"/>
                      </a:moveTo>
                      <a:lnTo>
                        <a:pt x="424470" y="0"/>
                      </a:lnTo>
                      <a:cubicBezTo>
                        <a:pt x="486912" y="795867"/>
                        <a:pt x="184228" y="1204383"/>
                        <a:pt x="2195" y="1873250"/>
                      </a:cubicBezTo>
                      <a:cubicBezTo>
                        <a:pt x="-10505" y="1940454"/>
                        <a:pt x="29976" y="2035439"/>
                        <a:pt x="173645" y="2041525"/>
                      </a:cubicBezTo>
                      <a:lnTo>
                        <a:pt x="1383320" y="2041525"/>
                      </a:lnTo>
                      <a:cubicBezTo>
                        <a:pt x="1492064" y="2017977"/>
                        <a:pt x="1561120" y="1948392"/>
                        <a:pt x="1545245" y="1806575"/>
                      </a:cubicBezTo>
                      <a:cubicBezTo>
                        <a:pt x="1496562" y="1635125"/>
                        <a:pt x="1333049" y="1194329"/>
                        <a:pt x="1246795" y="962025"/>
                      </a:cubicBezTo>
                      <a:cubicBezTo>
                        <a:pt x="1106566" y="609071"/>
                        <a:pt x="1134083" y="189971"/>
                        <a:pt x="1122970" y="12700"/>
                      </a:cubicBezTo>
                      <a:lnTo>
                        <a:pt x="999145" y="12700"/>
                      </a:lnTo>
                      <a:cubicBezTo>
                        <a:pt x="1004966" y="176212"/>
                        <a:pt x="961045" y="701146"/>
                        <a:pt x="1081695" y="936625"/>
                      </a:cubicBezTo>
                      <a:lnTo>
                        <a:pt x="465745" y="930275"/>
                      </a:lnTo>
                      <a:cubicBezTo>
                        <a:pt x="581103" y="772583"/>
                        <a:pt x="567874" y="183621"/>
                        <a:pt x="557820" y="3175"/>
                      </a:cubicBezTo>
                      <a:close/>
                    </a:path>
                  </a:pathLst>
                </a:cu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1" name="Rounded Rectangle 51"/>
                <p:cNvSpPr/>
                <p:nvPr/>
              </p:nvSpPr>
              <p:spPr>
                <a:xfrm>
                  <a:off x="9157704" y="3537266"/>
                  <a:ext cx="946824" cy="263525"/>
                </a:xfrm>
                <a:prstGeom prst="roundRect">
                  <a:avLst>
                    <a:gd name="adj" fmla="val 21666"/>
                  </a:avLst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" name="Freeform 52"/>
                <p:cNvSpPr/>
                <p:nvPr/>
              </p:nvSpPr>
              <p:spPr>
                <a:xfrm>
                  <a:off x="7089322" y="2425771"/>
                  <a:ext cx="1793873" cy="629817"/>
                </a:xfrm>
                <a:custGeom>
                  <a:avLst/>
                  <a:gdLst>
                    <a:gd name="connsiteX0" fmla="*/ 1199486 w 1793873"/>
                    <a:gd name="connsiteY0" fmla="*/ 158945 h 629817"/>
                    <a:gd name="connsiteX1" fmla="*/ 1199486 w 1793873"/>
                    <a:gd name="connsiteY1" fmla="*/ 508195 h 629817"/>
                    <a:gd name="connsiteX2" fmla="*/ 1637636 w 1793873"/>
                    <a:gd name="connsiteY2" fmla="*/ 508195 h 629817"/>
                    <a:gd name="connsiteX3" fmla="*/ 1637636 w 1793873"/>
                    <a:gd name="connsiteY3" fmla="*/ 158945 h 629817"/>
                    <a:gd name="connsiteX4" fmla="*/ 151165 w 1793873"/>
                    <a:gd name="connsiteY4" fmla="*/ 158945 h 629817"/>
                    <a:gd name="connsiteX5" fmla="*/ 151165 w 1793873"/>
                    <a:gd name="connsiteY5" fmla="*/ 508195 h 629817"/>
                    <a:gd name="connsiteX6" fmla="*/ 589315 w 1793873"/>
                    <a:gd name="connsiteY6" fmla="*/ 508195 h 629817"/>
                    <a:gd name="connsiteX7" fmla="*/ 589315 w 1793873"/>
                    <a:gd name="connsiteY7" fmla="*/ 158945 h 629817"/>
                    <a:gd name="connsiteX8" fmla="*/ 170284 w 1793873"/>
                    <a:gd name="connsiteY8" fmla="*/ 0 h 629817"/>
                    <a:gd name="connsiteX9" fmla="*/ 571500 w 1793873"/>
                    <a:gd name="connsiteY9" fmla="*/ 0 h 629817"/>
                    <a:gd name="connsiteX10" fmla="*/ 580706 w 1793873"/>
                    <a:gd name="connsiteY10" fmla="*/ 1859 h 629817"/>
                    <a:gd name="connsiteX11" fmla="*/ 580706 w 1793873"/>
                    <a:gd name="connsiteY11" fmla="*/ 0 h 629817"/>
                    <a:gd name="connsiteX12" fmla="*/ 1222373 w 1793873"/>
                    <a:gd name="connsiteY12" fmla="*/ 0 h 629817"/>
                    <a:gd name="connsiteX13" fmla="*/ 1257524 w 1793873"/>
                    <a:gd name="connsiteY13" fmla="*/ 0 h 629817"/>
                    <a:gd name="connsiteX14" fmla="*/ 1623589 w 1793873"/>
                    <a:gd name="connsiteY14" fmla="*/ 0 h 629817"/>
                    <a:gd name="connsiteX15" fmla="*/ 1793873 w 1793873"/>
                    <a:gd name="connsiteY15" fmla="*/ 170284 h 629817"/>
                    <a:gd name="connsiteX16" fmla="*/ 1793873 w 1793873"/>
                    <a:gd name="connsiteY16" fmla="*/ 459533 h 629817"/>
                    <a:gd name="connsiteX17" fmla="*/ 1623589 w 1793873"/>
                    <a:gd name="connsiteY17" fmla="*/ 629817 h 629817"/>
                    <a:gd name="connsiteX18" fmla="*/ 1222373 w 1793873"/>
                    <a:gd name="connsiteY18" fmla="*/ 629817 h 629817"/>
                    <a:gd name="connsiteX19" fmla="*/ 1052089 w 1793873"/>
                    <a:gd name="connsiteY19" fmla="*/ 459533 h 629817"/>
                    <a:gd name="connsiteX20" fmla="*/ 1052089 w 1793873"/>
                    <a:gd name="connsiteY20" fmla="*/ 269867 h 629817"/>
                    <a:gd name="connsiteX21" fmla="*/ 1019448 w 1793873"/>
                    <a:gd name="connsiteY21" fmla="*/ 238597 h 629817"/>
                    <a:gd name="connsiteX22" fmla="*/ 772480 w 1793873"/>
                    <a:gd name="connsiteY22" fmla="*/ 239651 h 629817"/>
                    <a:gd name="connsiteX23" fmla="*/ 741784 w 1793873"/>
                    <a:gd name="connsiteY23" fmla="*/ 272720 h 629817"/>
                    <a:gd name="connsiteX24" fmla="*/ 741784 w 1793873"/>
                    <a:gd name="connsiteY24" fmla="*/ 459533 h 629817"/>
                    <a:gd name="connsiteX25" fmla="*/ 571500 w 1793873"/>
                    <a:gd name="connsiteY25" fmla="*/ 629817 h 629817"/>
                    <a:gd name="connsiteX26" fmla="*/ 170284 w 1793873"/>
                    <a:gd name="connsiteY26" fmla="*/ 629817 h 629817"/>
                    <a:gd name="connsiteX27" fmla="*/ 0 w 1793873"/>
                    <a:gd name="connsiteY27" fmla="*/ 459533 h 629817"/>
                    <a:gd name="connsiteX28" fmla="*/ 0 w 1793873"/>
                    <a:gd name="connsiteY28" fmla="*/ 170284 h 629817"/>
                    <a:gd name="connsiteX29" fmla="*/ 170284 w 1793873"/>
                    <a:gd name="connsiteY29" fmla="*/ 0 h 629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793873" h="629817">
                      <a:moveTo>
                        <a:pt x="1199486" y="158945"/>
                      </a:moveTo>
                      <a:lnTo>
                        <a:pt x="1199486" y="508195"/>
                      </a:lnTo>
                      <a:lnTo>
                        <a:pt x="1637636" y="508195"/>
                      </a:lnTo>
                      <a:lnTo>
                        <a:pt x="1637636" y="158945"/>
                      </a:lnTo>
                      <a:close/>
                      <a:moveTo>
                        <a:pt x="151165" y="158945"/>
                      </a:moveTo>
                      <a:lnTo>
                        <a:pt x="151165" y="508195"/>
                      </a:lnTo>
                      <a:lnTo>
                        <a:pt x="589315" y="508195"/>
                      </a:lnTo>
                      <a:lnTo>
                        <a:pt x="589315" y="158945"/>
                      </a:lnTo>
                      <a:close/>
                      <a:moveTo>
                        <a:pt x="170284" y="0"/>
                      </a:moveTo>
                      <a:lnTo>
                        <a:pt x="571500" y="0"/>
                      </a:lnTo>
                      <a:lnTo>
                        <a:pt x="580706" y="1859"/>
                      </a:lnTo>
                      <a:lnTo>
                        <a:pt x="580706" y="0"/>
                      </a:lnTo>
                      <a:lnTo>
                        <a:pt x="1222373" y="0"/>
                      </a:lnTo>
                      <a:lnTo>
                        <a:pt x="1257524" y="0"/>
                      </a:lnTo>
                      <a:lnTo>
                        <a:pt x="1623589" y="0"/>
                      </a:lnTo>
                      <a:cubicBezTo>
                        <a:pt x="1717634" y="0"/>
                        <a:pt x="1793873" y="76239"/>
                        <a:pt x="1793873" y="170284"/>
                      </a:cubicBezTo>
                      <a:lnTo>
                        <a:pt x="1793873" y="459533"/>
                      </a:lnTo>
                      <a:cubicBezTo>
                        <a:pt x="1793873" y="553578"/>
                        <a:pt x="1717634" y="629817"/>
                        <a:pt x="1623589" y="629817"/>
                      </a:cubicBezTo>
                      <a:lnTo>
                        <a:pt x="1222373" y="629817"/>
                      </a:lnTo>
                      <a:cubicBezTo>
                        <a:pt x="1128328" y="629817"/>
                        <a:pt x="1052089" y="553578"/>
                        <a:pt x="1052089" y="459533"/>
                      </a:cubicBezTo>
                      <a:lnTo>
                        <a:pt x="1052089" y="269867"/>
                      </a:lnTo>
                      <a:lnTo>
                        <a:pt x="1019448" y="238597"/>
                      </a:lnTo>
                      <a:cubicBezTo>
                        <a:pt x="940178" y="175104"/>
                        <a:pt x="842604" y="178661"/>
                        <a:pt x="772480" y="239651"/>
                      </a:cubicBezTo>
                      <a:lnTo>
                        <a:pt x="741784" y="272720"/>
                      </a:lnTo>
                      <a:lnTo>
                        <a:pt x="741784" y="459533"/>
                      </a:lnTo>
                      <a:cubicBezTo>
                        <a:pt x="741784" y="553578"/>
                        <a:pt x="665545" y="629817"/>
                        <a:pt x="571500" y="629817"/>
                      </a:cubicBezTo>
                      <a:lnTo>
                        <a:pt x="170284" y="629817"/>
                      </a:lnTo>
                      <a:cubicBezTo>
                        <a:pt x="76239" y="629817"/>
                        <a:pt x="0" y="553578"/>
                        <a:pt x="0" y="459533"/>
                      </a:cubicBezTo>
                      <a:lnTo>
                        <a:pt x="0" y="170284"/>
                      </a:lnTo>
                      <a:cubicBezTo>
                        <a:pt x="0" y="76239"/>
                        <a:pt x="76239" y="0"/>
                        <a:pt x="170284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sp>
          <p:nvSpPr>
            <p:cNvPr id="21" name="TextBox 20"/>
            <p:cNvSpPr txBox="1"/>
            <p:nvPr/>
          </p:nvSpPr>
          <p:spPr>
            <a:xfrm>
              <a:off x="1512948" y="2020905"/>
              <a:ext cx="2341824" cy="100369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dirty="0">
                  <a:solidFill>
                    <a:schemeClr val="accent1"/>
                  </a:solidFill>
                </a:rPr>
                <a:t>Easy Deployment</a:t>
              </a:r>
            </a:p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urn R into web services in one line of code</a:t>
              </a: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510036" y="2881971"/>
              <a:ext cx="1982054" cy="1790733"/>
              <a:chOff x="2084627" y="1114466"/>
              <a:chExt cx="2209847" cy="2032632"/>
            </a:xfrm>
          </p:grpSpPr>
          <p:pic>
            <p:nvPicPr>
              <p:cNvPr id="51" name="Picture 79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2084627" y="1114466"/>
                <a:ext cx="2209847" cy="20326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2" name="TextBox 51"/>
              <p:cNvSpPr txBox="1"/>
              <p:nvPr/>
            </p:nvSpPr>
            <p:spPr>
              <a:xfrm>
                <a:off x="2309742" y="1600127"/>
                <a:ext cx="1858965" cy="77755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 defTabSz="931881"/>
                <a:r>
                  <a:rPr lang="en-US" sz="1600" b="1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icrosoft R Client</a:t>
                </a:r>
              </a:p>
              <a:p>
                <a:pPr algn="ctr" defTabSz="931881"/>
                <a:endParaRPr lang="en-US" sz="700" b="1" dirty="0">
                  <a:solidFill>
                    <a:prstClr val="white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  <a:p>
                <a:pPr algn="ctr" defTabSz="931881"/>
                <a:r>
                  <a:rPr lang="en-US" sz="1200" b="1" dirty="0">
                    <a:solidFill>
                      <a:schemeClr val="accent2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(mrsdeploy package</a:t>
                </a:r>
                <a:r>
                  <a:rPr lang="en-US" sz="1600" b="1" dirty="0">
                    <a:solidFill>
                      <a:schemeClr val="accent2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)</a:t>
                </a:r>
              </a:p>
            </p:txBody>
          </p:sp>
        </p:grpSp>
      </p:grpSp>
      <p:grpSp>
        <p:nvGrpSpPr>
          <p:cNvPr id="36" name="Group 35"/>
          <p:cNvGrpSpPr/>
          <p:nvPr/>
        </p:nvGrpSpPr>
        <p:grpSpPr>
          <a:xfrm>
            <a:off x="2492090" y="2245170"/>
            <a:ext cx="4823992" cy="4092707"/>
            <a:chOff x="2492090" y="2245170"/>
            <a:chExt cx="4823992" cy="4092707"/>
          </a:xfrm>
        </p:grpSpPr>
        <p:sp>
          <p:nvSpPr>
            <p:cNvPr id="22" name="Rectangle 21"/>
            <p:cNvSpPr/>
            <p:nvPr/>
          </p:nvSpPr>
          <p:spPr>
            <a:xfrm>
              <a:off x="3951875" y="4983660"/>
              <a:ext cx="3364207" cy="13542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225">
                <a:defRPr/>
              </a:pPr>
              <a:r>
                <a:rPr lang="en-US" dirty="0">
                  <a:solidFill>
                    <a:schemeClr val="accent1"/>
                  </a:solidFill>
                </a:rPr>
                <a:t>Easy Setup</a:t>
              </a:r>
            </a:p>
            <a:p>
              <a:pPr defTabSz="914225">
                <a:defRPr/>
              </a:pPr>
              <a:endParaRPr lang="en-US" sz="800" dirty="0">
                <a:cs typeface="Segoe UI Semilight" panose="020B0402040204020203" pitchFamily="34" charset="0"/>
              </a:endParaRPr>
            </a:p>
            <a:p>
              <a:pPr marL="280121" indent="-280121" defTabSz="914225">
                <a:buFont typeface="Wingdings" panose="05000000000000000000" pitchFamily="2" charset="2"/>
                <a:buChar char="§"/>
                <a:defRPr/>
              </a:pPr>
              <a:r>
                <a:rPr lang="en-US" sz="1400" dirty="0">
                  <a:cs typeface="Segoe UI Semilight" panose="020B0402040204020203" pitchFamily="34" charset="0"/>
                </a:rPr>
                <a:t>In-cloud or on-prem</a:t>
              </a:r>
            </a:p>
            <a:p>
              <a:pPr marL="280121" indent="-280121" defTabSz="914225">
                <a:buFont typeface="Wingdings" panose="05000000000000000000" pitchFamily="2" charset="2"/>
                <a:buChar char="§"/>
                <a:defRPr/>
              </a:pPr>
              <a:r>
                <a:rPr lang="en-US" sz="1400" dirty="0">
                  <a:cs typeface="Segoe UI Semilight" panose="020B0402040204020203" pitchFamily="34" charset="0"/>
                </a:rPr>
                <a:t>Adding nodes to scale</a:t>
              </a:r>
            </a:p>
            <a:p>
              <a:pPr marL="280121" indent="-280121" defTabSz="914225">
                <a:buFont typeface="Wingdings" panose="05000000000000000000" pitchFamily="2" charset="2"/>
                <a:buChar char="§"/>
                <a:defRPr/>
              </a:pPr>
              <a:r>
                <a:rPr lang="en-US" sz="1400" dirty="0">
                  <a:cs typeface="Segoe UI Semilight" panose="020B0402040204020203" pitchFamily="34" charset="0"/>
                </a:rPr>
                <a:t>High availability &amp; load balancing</a:t>
              </a:r>
            </a:p>
            <a:p>
              <a:pPr marL="280121" indent="-280121" defTabSz="914225">
                <a:buFont typeface="Wingdings" panose="05000000000000000000" pitchFamily="2" charset="2"/>
                <a:buChar char="§"/>
                <a:defRPr/>
              </a:pPr>
              <a:r>
                <a:rPr lang="en-US" sz="1400" dirty="0">
                  <a:solidFill>
                    <a:schemeClr val="accent1"/>
                  </a:solidFill>
                  <a:cs typeface="Segoe UI Semilight" panose="020B0402040204020203" pitchFamily="34" charset="0"/>
                  <a:sym typeface="Wingdings" panose="05000000000000000000" pitchFamily="2" charset="2"/>
                </a:rPr>
                <a:t>Remote execution server</a:t>
              </a:r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4053893" y="2245170"/>
              <a:ext cx="2809691" cy="2639661"/>
              <a:chOff x="5290698" y="3018644"/>
              <a:chExt cx="2809691" cy="2639661"/>
            </a:xfrm>
          </p:grpSpPr>
          <p:sp>
            <p:nvSpPr>
              <p:cNvPr id="24" name="Rectangle 23"/>
              <p:cNvSpPr/>
              <p:nvPr/>
            </p:nvSpPr>
            <p:spPr>
              <a:xfrm>
                <a:off x="5290698" y="3018644"/>
                <a:ext cx="2795162" cy="2639661"/>
              </a:xfrm>
              <a:prstGeom prst="rect">
                <a:avLst/>
              </a:prstGeom>
              <a:solidFill>
                <a:schemeClr val="accent2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388" tIns="45694" rIns="91388" bIns="45694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147">
                  <a:defRPr/>
                </a:pPr>
                <a:endParaRPr lang="en-US" sz="1200" b="1" kern="0" dirty="0">
                  <a:solidFill>
                    <a:prstClr val="white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5297963" y="4615182"/>
                <a:ext cx="2795162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31147">
                  <a:defRPr/>
                </a:pPr>
                <a:r>
                  <a:rPr lang="en-US" sz="2000" b="1" kern="0" dirty="0">
                    <a:solidFill>
                      <a:schemeClr val="accent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icrosoft R Server</a:t>
                </a:r>
              </a:p>
              <a:p>
                <a:pPr algn="ctr" defTabSz="931147">
                  <a:defRPr/>
                </a:pPr>
                <a:r>
                  <a:rPr lang="en-US" sz="1400" b="1" kern="0" dirty="0">
                    <a:solidFill>
                      <a:schemeClr val="accent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nfigured for</a:t>
                </a:r>
              </a:p>
              <a:p>
                <a:pPr algn="ctr" defTabSz="931147">
                  <a:defRPr/>
                </a:pPr>
                <a:r>
                  <a:rPr lang="en-US" sz="1400" b="1" kern="0" dirty="0">
                    <a:solidFill>
                      <a:schemeClr val="accent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operationalizing R analytics</a:t>
                </a:r>
              </a:p>
            </p:txBody>
          </p:sp>
          <p:pic>
            <p:nvPicPr>
              <p:cNvPr id="26" name="Picture 25"/>
              <p:cNvPicPr>
                <a:picLocks noChangeAspect="1"/>
              </p:cNvPicPr>
              <p:nvPr/>
            </p:nvPicPr>
            <p:blipFill>
              <a:blip r:embed="rId4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63960" y="3205422"/>
                <a:ext cx="996196" cy="1138510"/>
              </a:xfrm>
              <a:prstGeom prst="rect">
                <a:avLst/>
              </a:prstGeom>
            </p:spPr>
          </p:pic>
          <p:sp>
            <p:nvSpPr>
              <p:cNvPr id="27" name="TextBox 26"/>
              <p:cNvSpPr txBox="1"/>
              <p:nvPr/>
            </p:nvSpPr>
            <p:spPr>
              <a:xfrm>
                <a:off x="6690333" y="3539331"/>
                <a:ext cx="1410056" cy="738664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accent1"/>
                    </a:solidFill>
                  </a:rPr>
                  <a:t>Services / Sessions</a:t>
                </a:r>
              </a:p>
            </p:txBody>
          </p:sp>
        </p:grpSp>
        <p:sp>
          <p:nvSpPr>
            <p:cNvPr id="48" name="TextBox 47"/>
            <p:cNvSpPr txBox="1"/>
            <p:nvPr/>
          </p:nvSpPr>
          <p:spPr>
            <a:xfrm>
              <a:off x="2590446" y="3210427"/>
              <a:ext cx="1361165" cy="3300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31881"/>
              <a:r>
                <a:rPr lang="en-US" altLang="zh-CN" sz="1600" b="1" dirty="0">
                  <a:solidFill>
                    <a:schemeClr val="accent4">
                      <a:lumMod val="60000"/>
                      <a:lumOff val="4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ublishService</a:t>
              </a:r>
              <a:endParaRPr lang="en-US" sz="1600" b="1" dirty="0">
                <a:solidFill>
                  <a:schemeClr val="accent4">
                    <a:lumMod val="60000"/>
                    <a:lumOff val="4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53" name="Straight Arrow Connector 52"/>
            <p:cNvCxnSpPr>
              <a:endCxn id="24" idx="1"/>
            </p:cNvCxnSpPr>
            <p:nvPr/>
          </p:nvCxnSpPr>
          <p:spPr>
            <a:xfrm>
              <a:off x="2492090" y="3565001"/>
              <a:ext cx="1561803" cy="0"/>
            </a:xfrm>
            <a:prstGeom prst="straightConnector1">
              <a:avLst/>
            </a:prstGeom>
            <a:ln w="31750" cap="flat" cmpd="sng" algn="ctr">
              <a:solidFill>
                <a:schemeClr val="accent1"/>
              </a:solidFill>
              <a:prstDash val="solid"/>
              <a:round/>
              <a:headEnd type="arrow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37" name="Group 36"/>
          <p:cNvGrpSpPr/>
          <p:nvPr/>
        </p:nvGrpSpPr>
        <p:grpSpPr>
          <a:xfrm>
            <a:off x="6849055" y="957199"/>
            <a:ext cx="4997246" cy="2752261"/>
            <a:chOff x="6849055" y="957199"/>
            <a:chExt cx="4997246" cy="2752261"/>
          </a:xfrm>
        </p:grpSpPr>
        <p:grpSp>
          <p:nvGrpSpPr>
            <p:cNvPr id="33" name="Group 32"/>
            <p:cNvGrpSpPr/>
            <p:nvPr/>
          </p:nvGrpSpPr>
          <p:grpSpPr>
            <a:xfrm>
              <a:off x="8629524" y="1798170"/>
              <a:ext cx="1924208" cy="1911290"/>
              <a:chOff x="2084627" y="1114466"/>
              <a:chExt cx="2209847" cy="2032632"/>
            </a:xfrm>
          </p:grpSpPr>
          <p:pic>
            <p:nvPicPr>
              <p:cNvPr id="34" name="Picture 79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2084627" y="1114466"/>
                <a:ext cx="2209847" cy="20326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5" name="TextBox 34"/>
              <p:cNvSpPr txBox="1"/>
              <p:nvPr/>
            </p:nvSpPr>
            <p:spPr>
              <a:xfrm>
                <a:off x="2292804" y="1600128"/>
                <a:ext cx="1858965" cy="77755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 defTabSz="931881"/>
                <a:r>
                  <a:rPr lang="en-US" sz="1600" b="1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icrosoft R Client</a:t>
                </a:r>
              </a:p>
              <a:p>
                <a:pPr algn="ctr" defTabSz="931881"/>
                <a:endParaRPr lang="en-US" sz="700" b="1" dirty="0">
                  <a:solidFill>
                    <a:prstClr val="white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  <a:p>
                <a:pPr algn="ctr" defTabSz="931881"/>
                <a:r>
                  <a:rPr lang="en-US" sz="1200" b="1" dirty="0">
                    <a:solidFill>
                      <a:schemeClr val="accent2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(mrsdeploy package</a:t>
                </a:r>
                <a:r>
                  <a:rPr lang="en-US" sz="1600" b="1" dirty="0">
                    <a:solidFill>
                      <a:schemeClr val="accent2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)</a:t>
                </a:r>
              </a:p>
            </p:txBody>
          </p:sp>
        </p:grpSp>
        <p:cxnSp>
          <p:nvCxnSpPr>
            <p:cNvPr id="46" name="Straight Arrow Connector 45"/>
            <p:cNvCxnSpPr>
              <a:cxnSpLocks/>
              <a:stCxn id="24" idx="3"/>
              <a:endCxn id="34" idx="3"/>
            </p:cNvCxnSpPr>
            <p:nvPr/>
          </p:nvCxnSpPr>
          <p:spPr>
            <a:xfrm flipV="1">
              <a:off x="6849055" y="2753815"/>
              <a:ext cx="1780469" cy="811186"/>
            </a:xfrm>
            <a:prstGeom prst="straightConnector1">
              <a:avLst/>
            </a:prstGeom>
            <a:ln w="31750" cap="flat" cmpd="sng" algn="ctr">
              <a:solidFill>
                <a:schemeClr val="accent1"/>
              </a:solidFill>
              <a:prstDash val="solid"/>
              <a:round/>
              <a:headEnd type="arrow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7" name="TextBox 46"/>
            <p:cNvSpPr txBox="1"/>
            <p:nvPr/>
          </p:nvSpPr>
          <p:spPr>
            <a:xfrm>
              <a:off x="9552924" y="957199"/>
              <a:ext cx="2293377" cy="100369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dirty="0">
                  <a:solidFill>
                    <a:schemeClr val="accent1"/>
                  </a:solidFill>
                </a:rPr>
                <a:t>Easy Consumption</a:t>
              </a:r>
            </a:p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xplore and consume services in R directly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 rot="19899132">
              <a:off x="7006499" y="2761113"/>
              <a:ext cx="1219027" cy="3483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31881"/>
              <a:r>
                <a:rPr lang="en-US" sz="1600" b="1" dirty="0">
                  <a:solidFill>
                    <a:schemeClr val="accent4">
                      <a:lumMod val="60000"/>
                      <a:lumOff val="4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etService</a:t>
              </a:r>
            </a:p>
          </p:txBody>
        </p:sp>
        <p:grpSp>
          <p:nvGrpSpPr>
            <p:cNvPr id="54" name="Group 53"/>
            <p:cNvGrpSpPr/>
            <p:nvPr/>
          </p:nvGrpSpPr>
          <p:grpSpPr>
            <a:xfrm>
              <a:off x="8517098" y="1104187"/>
              <a:ext cx="1138238" cy="916536"/>
              <a:chOff x="1" y="770872"/>
              <a:chExt cx="1219200" cy="981728"/>
            </a:xfrm>
            <a:solidFill>
              <a:schemeClr val="accent3"/>
            </a:solidFill>
          </p:grpSpPr>
          <p:sp>
            <p:nvSpPr>
              <p:cNvPr id="55" name="TextBox 54"/>
              <p:cNvSpPr txBox="1"/>
              <p:nvPr/>
            </p:nvSpPr>
            <p:spPr>
              <a:xfrm>
                <a:off x="1" y="1404235"/>
                <a:ext cx="1219200" cy="3483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 defTabSz="931881"/>
                <a:r>
                  <a:rPr lang="en-US" sz="1400" b="1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Data Scientist</a:t>
                </a:r>
              </a:p>
            </p:txBody>
          </p:sp>
          <p:grpSp>
            <p:nvGrpSpPr>
              <p:cNvPr id="56" name="Group 55"/>
              <p:cNvGrpSpPr>
                <a:grpSpLocks noChangeAspect="1"/>
              </p:cNvGrpSpPr>
              <p:nvPr/>
            </p:nvGrpSpPr>
            <p:grpSpPr>
              <a:xfrm>
                <a:off x="243002" y="770872"/>
                <a:ext cx="564718" cy="522569"/>
                <a:chOff x="5809310" y="1674658"/>
                <a:chExt cx="4585732" cy="4226967"/>
              </a:xfrm>
              <a:grpFill/>
            </p:grpSpPr>
            <p:sp>
              <p:nvSpPr>
                <p:cNvPr id="57" name="Oval 56"/>
                <p:cNvSpPr/>
                <p:nvPr/>
              </p:nvSpPr>
              <p:spPr>
                <a:xfrm>
                  <a:off x="6881217" y="1674658"/>
                  <a:ext cx="2210082" cy="2210082"/>
                </a:xfrm>
                <a:prstGeom prst="ellipse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8" name="Freeform 48"/>
                <p:cNvSpPr/>
                <p:nvPr/>
              </p:nvSpPr>
              <p:spPr>
                <a:xfrm>
                  <a:off x="5809310" y="3984172"/>
                  <a:ext cx="3316029" cy="1917453"/>
                </a:xfrm>
                <a:custGeom>
                  <a:avLst/>
                  <a:gdLst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827176 w 3331029"/>
                    <a:gd name="connsiteY13" fmla="*/ 279918 h 1912775"/>
                    <a:gd name="connsiteX14" fmla="*/ 2528596 w 3331029"/>
                    <a:gd name="connsiteY14" fmla="*/ 1212980 h 1912775"/>
                    <a:gd name="connsiteX15" fmla="*/ 2258008 w 3331029"/>
                    <a:gd name="connsiteY15" fmla="*/ 1716833 h 1912775"/>
                    <a:gd name="connsiteX16" fmla="*/ 2164702 w 3331029"/>
                    <a:gd name="connsiteY16" fmla="*/ 1782147 h 1912775"/>
                    <a:gd name="connsiteX17" fmla="*/ 1968760 w 3331029"/>
                    <a:gd name="connsiteY17" fmla="*/ 1446245 h 1912775"/>
                    <a:gd name="connsiteX18" fmla="*/ 1688841 w 3331029"/>
                    <a:gd name="connsiteY18" fmla="*/ 886408 h 1912775"/>
                    <a:gd name="connsiteX19" fmla="*/ 1558213 w 3331029"/>
                    <a:gd name="connsiteY19" fmla="*/ 457200 h 1912775"/>
                    <a:gd name="connsiteX20" fmla="*/ 1418253 w 3331029"/>
                    <a:gd name="connsiteY20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827176 w 3331029"/>
                    <a:gd name="connsiteY13" fmla="*/ 279918 h 1912775"/>
                    <a:gd name="connsiteX14" fmla="*/ 2528596 w 3331029"/>
                    <a:gd name="connsiteY14" fmla="*/ 1212980 h 1912775"/>
                    <a:gd name="connsiteX15" fmla="*/ 2164702 w 3331029"/>
                    <a:gd name="connsiteY15" fmla="*/ 1782147 h 1912775"/>
                    <a:gd name="connsiteX16" fmla="*/ 1968760 w 3331029"/>
                    <a:gd name="connsiteY16" fmla="*/ 1446245 h 1912775"/>
                    <a:gd name="connsiteX17" fmla="*/ 1688841 w 3331029"/>
                    <a:gd name="connsiteY17" fmla="*/ 886408 h 1912775"/>
                    <a:gd name="connsiteX18" fmla="*/ 1558213 w 3331029"/>
                    <a:gd name="connsiteY18" fmla="*/ 457200 h 1912775"/>
                    <a:gd name="connsiteX19" fmla="*/ 1418253 w 3331029"/>
                    <a:gd name="connsiteY19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827176 w 3331029"/>
                    <a:gd name="connsiteY13" fmla="*/ 279918 h 1912775"/>
                    <a:gd name="connsiteX14" fmla="*/ 2164702 w 3331029"/>
                    <a:gd name="connsiteY14" fmla="*/ 1782147 h 1912775"/>
                    <a:gd name="connsiteX15" fmla="*/ 1968760 w 3331029"/>
                    <a:gd name="connsiteY15" fmla="*/ 1446245 h 1912775"/>
                    <a:gd name="connsiteX16" fmla="*/ 1688841 w 3331029"/>
                    <a:gd name="connsiteY16" fmla="*/ 886408 h 1912775"/>
                    <a:gd name="connsiteX17" fmla="*/ 1558213 w 3331029"/>
                    <a:gd name="connsiteY17" fmla="*/ 457200 h 1912775"/>
                    <a:gd name="connsiteX18" fmla="*/ 1418253 w 3331029"/>
                    <a:gd name="connsiteY18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968760 w 3331029"/>
                    <a:gd name="connsiteY14" fmla="*/ 1446245 h 1912775"/>
                    <a:gd name="connsiteX15" fmla="*/ 1688841 w 3331029"/>
                    <a:gd name="connsiteY15" fmla="*/ 886408 h 1912775"/>
                    <a:gd name="connsiteX16" fmla="*/ 1558213 w 3331029"/>
                    <a:gd name="connsiteY16" fmla="*/ 457200 h 1912775"/>
                    <a:gd name="connsiteX17" fmla="*/ 1418253 w 3331029"/>
                    <a:gd name="connsiteY17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968760 w 3331029"/>
                    <a:gd name="connsiteY14" fmla="*/ 1446245 h 1912775"/>
                    <a:gd name="connsiteX15" fmla="*/ 1688841 w 3331029"/>
                    <a:gd name="connsiteY15" fmla="*/ 886408 h 1912775"/>
                    <a:gd name="connsiteX16" fmla="*/ 1418253 w 3331029"/>
                    <a:gd name="connsiteY16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968760 w 3331029"/>
                    <a:gd name="connsiteY14" fmla="*/ 1446245 h 1912775"/>
                    <a:gd name="connsiteX15" fmla="*/ 1418253 w 3331029"/>
                    <a:gd name="connsiteY15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18253 w 3331029"/>
                    <a:gd name="connsiteY0" fmla="*/ 9331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18253 w 3331029"/>
                    <a:gd name="connsiteY14" fmla="*/ 9331 h 1912775"/>
                    <a:gd name="connsiteX0" fmla="*/ 1436914 w 3331029"/>
                    <a:gd name="connsiteY0" fmla="*/ 0 h 1912775"/>
                    <a:gd name="connsiteX1" fmla="*/ 475862 w 3331029"/>
                    <a:gd name="connsiteY1" fmla="*/ 419877 h 1912775"/>
                    <a:gd name="connsiteX2" fmla="*/ 223935 w 3331029"/>
                    <a:gd name="connsiteY2" fmla="*/ 699796 h 1912775"/>
                    <a:gd name="connsiteX3" fmla="*/ 130629 w 3331029"/>
                    <a:gd name="connsiteY3" fmla="*/ 989045 h 1912775"/>
                    <a:gd name="connsiteX4" fmla="*/ 0 w 3331029"/>
                    <a:gd name="connsiteY4" fmla="*/ 1614196 h 1912775"/>
                    <a:gd name="connsiteX5" fmla="*/ 746449 w 3331029"/>
                    <a:gd name="connsiteY5" fmla="*/ 1828800 h 1912775"/>
                    <a:gd name="connsiteX6" fmla="*/ 1735494 w 3331029"/>
                    <a:gd name="connsiteY6" fmla="*/ 1912775 h 1912775"/>
                    <a:gd name="connsiteX7" fmla="*/ 2948474 w 3331029"/>
                    <a:gd name="connsiteY7" fmla="*/ 1884784 h 1912775"/>
                    <a:gd name="connsiteX8" fmla="*/ 2901821 w 3331029"/>
                    <a:gd name="connsiteY8" fmla="*/ 1772816 h 1912775"/>
                    <a:gd name="connsiteX9" fmla="*/ 3247053 w 3331029"/>
                    <a:gd name="connsiteY9" fmla="*/ 783771 h 1912775"/>
                    <a:gd name="connsiteX10" fmla="*/ 3331029 w 3331029"/>
                    <a:gd name="connsiteY10" fmla="*/ 513184 h 1912775"/>
                    <a:gd name="connsiteX11" fmla="*/ 3331029 w 3331029"/>
                    <a:gd name="connsiteY11" fmla="*/ 158620 h 1912775"/>
                    <a:gd name="connsiteX12" fmla="*/ 2911151 w 3331029"/>
                    <a:gd name="connsiteY12" fmla="*/ 0 h 1912775"/>
                    <a:gd name="connsiteX13" fmla="*/ 2164702 w 3331029"/>
                    <a:gd name="connsiteY13" fmla="*/ 1782147 h 1912775"/>
                    <a:gd name="connsiteX14" fmla="*/ 1436914 w 3331029"/>
                    <a:gd name="connsiteY14" fmla="*/ 0 h 1912775"/>
                    <a:gd name="connsiteX0" fmla="*/ 1436914 w 3331029"/>
                    <a:gd name="connsiteY0" fmla="*/ 0 h 1912775"/>
                    <a:gd name="connsiteX1" fmla="*/ 223935 w 3331029"/>
                    <a:gd name="connsiteY1" fmla="*/ 699796 h 1912775"/>
                    <a:gd name="connsiteX2" fmla="*/ 130629 w 3331029"/>
                    <a:gd name="connsiteY2" fmla="*/ 989045 h 1912775"/>
                    <a:gd name="connsiteX3" fmla="*/ 0 w 3331029"/>
                    <a:gd name="connsiteY3" fmla="*/ 1614196 h 1912775"/>
                    <a:gd name="connsiteX4" fmla="*/ 746449 w 3331029"/>
                    <a:gd name="connsiteY4" fmla="*/ 1828800 h 1912775"/>
                    <a:gd name="connsiteX5" fmla="*/ 1735494 w 3331029"/>
                    <a:gd name="connsiteY5" fmla="*/ 1912775 h 1912775"/>
                    <a:gd name="connsiteX6" fmla="*/ 2948474 w 3331029"/>
                    <a:gd name="connsiteY6" fmla="*/ 1884784 h 1912775"/>
                    <a:gd name="connsiteX7" fmla="*/ 2901821 w 3331029"/>
                    <a:gd name="connsiteY7" fmla="*/ 1772816 h 1912775"/>
                    <a:gd name="connsiteX8" fmla="*/ 3247053 w 3331029"/>
                    <a:gd name="connsiteY8" fmla="*/ 783771 h 1912775"/>
                    <a:gd name="connsiteX9" fmla="*/ 3331029 w 3331029"/>
                    <a:gd name="connsiteY9" fmla="*/ 513184 h 1912775"/>
                    <a:gd name="connsiteX10" fmla="*/ 3331029 w 3331029"/>
                    <a:gd name="connsiteY10" fmla="*/ 158620 h 1912775"/>
                    <a:gd name="connsiteX11" fmla="*/ 2911151 w 3331029"/>
                    <a:gd name="connsiteY11" fmla="*/ 0 h 1912775"/>
                    <a:gd name="connsiteX12" fmla="*/ 2164702 w 3331029"/>
                    <a:gd name="connsiteY12" fmla="*/ 1782147 h 1912775"/>
                    <a:gd name="connsiteX13" fmla="*/ 1436914 w 3331029"/>
                    <a:gd name="connsiteY13" fmla="*/ 0 h 1912775"/>
                    <a:gd name="connsiteX0" fmla="*/ 1436914 w 3331029"/>
                    <a:gd name="connsiteY0" fmla="*/ 0 h 1912775"/>
                    <a:gd name="connsiteX1" fmla="*/ 130629 w 3331029"/>
                    <a:gd name="connsiteY1" fmla="*/ 989045 h 1912775"/>
                    <a:gd name="connsiteX2" fmla="*/ 0 w 3331029"/>
                    <a:gd name="connsiteY2" fmla="*/ 1614196 h 1912775"/>
                    <a:gd name="connsiteX3" fmla="*/ 746449 w 3331029"/>
                    <a:gd name="connsiteY3" fmla="*/ 1828800 h 1912775"/>
                    <a:gd name="connsiteX4" fmla="*/ 1735494 w 3331029"/>
                    <a:gd name="connsiteY4" fmla="*/ 1912775 h 1912775"/>
                    <a:gd name="connsiteX5" fmla="*/ 2948474 w 3331029"/>
                    <a:gd name="connsiteY5" fmla="*/ 1884784 h 1912775"/>
                    <a:gd name="connsiteX6" fmla="*/ 2901821 w 3331029"/>
                    <a:gd name="connsiteY6" fmla="*/ 1772816 h 1912775"/>
                    <a:gd name="connsiteX7" fmla="*/ 3247053 w 3331029"/>
                    <a:gd name="connsiteY7" fmla="*/ 783771 h 1912775"/>
                    <a:gd name="connsiteX8" fmla="*/ 3331029 w 3331029"/>
                    <a:gd name="connsiteY8" fmla="*/ 513184 h 1912775"/>
                    <a:gd name="connsiteX9" fmla="*/ 3331029 w 3331029"/>
                    <a:gd name="connsiteY9" fmla="*/ 158620 h 1912775"/>
                    <a:gd name="connsiteX10" fmla="*/ 2911151 w 3331029"/>
                    <a:gd name="connsiteY10" fmla="*/ 0 h 1912775"/>
                    <a:gd name="connsiteX11" fmla="*/ 2164702 w 3331029"/>
                    <a:gd name="connsiteY11" fmla="*/ 1782147 h 1912775"/>
                    <a:gd name="connsiteX12" fmla="*/ 1436914 w 3331029"/>
                    <a:gd name="connsiteY12" fmla="*/ 0 h 1912775"/>
                    <a:gd name="connsiteX0" fmla="*/ 1436914 w 3331029"/>
                    <a:gd name="connsiteY0" fmla="*/ 0 h 1912775"/>
                    <a:gd name="connsiteX1" fmla="*/ 0 w 3331029"/>
                    <a:gd name="connsiteY1" fmla="*/ 1614196 h 1912775"/>
                    <a:gd name="connsiteX2" fmla="*/ 746449 w 3331029"/>
                    <a:gd name="connsiteY2" fmla="*/ 1828800 h 1912775"/>
                    <a:gd name="connsiteX3" fmla="*/ 1735494 w 3331029"/>
                    <a:gd name="connsiteY3" fmla="*/ 1912775 h 1912775"/>
                    <a:gd name="connsiteX4" fmla="*/ 2948474 w 3331029"/>
                    <a:gd name="connsiteY4" fmla="*/ 1884784 h 1912775"/>
                    <a:gd name="connsiteX5" fmla="*/ 2901821 w 3331029"/>
                    <a:gd name="connsiteY5" fmla="*/ 1772816 h 1912775"/>
                    <a:gd name="connsiteX6" fmla="*/ 3247053 w 3331029"/>
                    <a:gd name="connsiteY6" fmla="*/ 783771 h 1912775"/>
                    <a:gd name="connsiteX7" fmla="*/ 3331029 w 3331029"/>
                    <a:gd name="connsiteY7" fmla="*/ 513184 h 1912775"/>
                    <a:gd name="connsiteX8" fmla="*/ 3331029 w 3331029"/>
                    <a:gd name="connsiteY8" fmla="*/ 158620 h 1912775"/>
                    <a:gd name="connsiteX9" fmla="*/ 2911151 w 3331029"/>
                    <a:gd name="connsiteY9" fmla="*/ 0 h 1912775"/>
                    <a:gd name="connsiteX10" fmla="*/ 2164702 w 3331029"/>
                    <a:gd name="connsiteY10" fmla="*/ 1782147 h 1912775"/>
                    <a:gd name="connsiteX11" fmla="*/ 1436914 w 3331029"/>
                    <a:gd name="connsiteY11" fmla="*/ 0 h 1912775"/>
                    <a:gd name="connsiteX0" fmla="*/ 1436914 w 3331029"/>
                    <a:gd name="connsiteY0" fmla="*/ 0 h 1912775"/>
                    <a:gd name="connsiteX1" fmla="*/ 0 w 3331029"/>
                    <a:gd name="connsiteY1" fmla="*/ 1614196 h 1912775"/>
                    <a:gd name="connsiteX2" fmla="*/ 746449 w 3331029"/>
                    <a:gd name="connsiteY2" fmla="*/ 1828800 h 1912775"/>
                    <a:gd name="connsiteX3" fmla="*/ 1735494 w 3331029"/>
                    <a:gd name="connsiteY3" fmla="*/ 1912775 h 1912775"/>
                    <a:gd name="connsiteX4" fmla="*/ 2948474 w 3331029"/>
                    <a:gd name="connsiteY4" fmla="*/ 1884784 h 1912775"/>
                    <a:gd name="connsiteX5" fmla="*/ 2901821 w 3331029"/>
                    <a:gd name="connsiteY5" fmla="*/ 1772816 h 1912775"/>
                    <a:gd name="connsiteX6" fmla="*/ 3247053 w 3331029"/>
                    <a:gd name="connsiteY6" fmla="*/ 783771 h 1912775"/>
                    <a:gd name="connsiteX7" fmla="*/ 3331029 w 3331029"/>
                    <a:gd name="connsiteY7" fmla="*/ 513184 h 1912775"/>
                    <a:gd name="connsiteX8" fmla="*/ 3331029 w 3331029"/>
                    <a:gd name="connsiteY8" fmla="*/ 158620 h 1912775"/>
                    <a:gd name="connsiteX9" fmla="*/ 2911151 w 3331029"/>
                    <a:gd name="connsiteY9" fmla="*/ 0 h 1912775"/>
                    <a:gd name="connsiteX10" fmla="*/ 2164702 w 3331029"/>
                    <a:gd name="connsiteY10" fmla="*/ 1782147 h 1912775"/>
                    <a:gd name="connsiteX11" fmla="*/ 1436914 w 3331029"/>
                    <a:gd name="connsiteY11" fmla="*/ 0 h 1912775"/>
                    <a:gd name="connsiteX0" fmla="*/ 1436914 w 3331029"/>
                    <a:gd name="connsiteY0" fmla="*/ 0 h 1912775"/>
                    <a:gd name="connsiteX1" fmla="*/ 0 w 3331029"/>
                    <a:gd name="connsiteY1" fmla="*/ 1614196 h 1912775"/>
                    <a:gd name="connsiteX2" fmla="*/ 746449 w 3331029"/>
                    <a:gd name="connsiteY2" fmla="*/ 1828800 h 1912775"/>
                    <a:gd name="connsiteX3" fmla="*/ 1735494 w 3331029"/>
                    <a:gd name="connsiteY3" fmla="*/ 1912775 h 1912775"/>
                    <a:gd name="connsiteX4" fmla="*/ 2948474 w 3331029"/>
                    <a:gd name="connsiteY4" fmla="*/ 1884784 h 1912775"/>
                    <a:gd name="connsiteX5" fmla="*/ 2901821 w 3331029"/>
                    <a:gd name="connsiteY5" fmla="*/ 1772816 h 1912775"/>
                    <a:gd name="connsiteX6" fmla="*/ 3247053 w 3331029"/>
                    <a:gd name="connsiteY6" fmla="*/ 783771 h 1912775"/>
                    <a:gd name="connsiteX7" fmla="*/ 3331029 w 3331029"/>
                    <a:gd name="connsiteY7" fmla="*/ 513184 h 1912775"/>
                    <a:gd name="connsiteX8" fmla="*/ 3331029 w 3331029"/>
                    <a:gd name="connsiteY8" fmla="*/ 158620 h 1912775"/>
                    <a:gd name="connsiteX9" fmla="*/ 2911151 w 3331029"/>
                    <a:gd name="connsiteY9" fmla="*/ 0 h 1912775"/>
                    <a:gd name="connsiteX10" fmla="*/ 2164702 w 3331029"/>
                    <a:gd name="connsiteY10" fmla="*/ 1782147 h 1912775"/>
                    <a:gd name="connsiteX11" fmla="*/ 1436914 w 3331029"/>
                    <a:gd name="connsiteY11" fmla="*/ 0 h 1912775"/>
                    <a:gd name="connsiteX0" fmla="*/ 1436914 w 3331029"/>
                    <a:gd name="connsiteY0" fmla="*/ 0 h 1912775"/>
                    <a:gd name="connsiteX1" fmla="*/ 0 w 3331029"/>
                    <a:gd name="connsiteY1" fmla="*/ 1614196 h 1912775"/>
                    <a:gd name="connsiteX2" fmla="*/ 746449 w 3331029"/>
                    <a:gd name="connsiteY2" fmla="*/ 1828800 h 1912775"/>
                    <a:gd name="connsiteX3" fmla="*/ 1735494 w 3331029"/>
                    <a:gd name="connsiteY3" fmla="*/ 1912775 h 1912775"/>
                    <a:gd name="connsiteX4" fmla="*/ 2948474 w 3331029"/>
                    <a:gd name="connsiteY4" fmla="*/ 1884784 h 1912775"/>
                    <a:gd name="connsiteX5" fmla="*/ 2901821 w 3331029"/>
                    <a:gd name="connsiteY5" fmla="*/ 1772816 h 1912775"/>
                    <a:gd name="connsiteX6" fmla="*/ 3247053 w 3331029"/>
                    <a:gd name="connsiteY6" fmla="*/ 783771 h 1912775"/>
                    <a:gd name="connsiteX7" fmla="*/ 3331029 w 3331029"/>
                    <a:gd name="connsiteY7" fmla="*/ 513184 h 1912775"/>
                    <a:gd name="connsiteX8" fmla="*/ 3331029 w 3331029"/>
                    <a:gd name="connsiteY8" fmla="*/ 158620 h 1912775"/>
                    <a:gd name="connsiteX9" fmla="*/ 2911151 w 3331029"/>
                    <a:gd name="connsiteY9" fmla="*/ 0 h 1912775"/>
                    <a:gd name="connsiteX10" fmla="*/ 2164702 w 3331029"/>
                    <a:gd name="connsiteY10" fmla="*/ 1782147 h 1912775"/>
                    <a:gd name="connsiteX11" fmla="*/ 1436914 w 3331029"/>
                    <a:gd name="connsiteY11" fmla="*/ 0 h 1912775"/>
                    <a:gd name="connsiteX0" fmla="*/ 1436914 w 3331029"/>
                    <a:gd name="connsiteY0" fmla="*/ 0 h 1912775"/>
                    <a:gd name="connsiteX1" fmla="*/ 0 w 3331029"/>
                    <a:gd name="connsiteY1" fmla="*/ 1614196 h 1912775"/>
                    <a:gd name="connsiteX2" fmla="*/ 1735494 w 3331029"/>
                    <a:gd name="connsiteY2" fmla="*/ 1912775 h 1912775"/>
                    <a:gd name="connsiteX3" fmla="*/ 2948474 w 3331029"/>
                    <a:gd name="connsiteY3" fmla="*/ 1884784 h 1912775"/>
                    <a:gd name="connsiteX4" fmla="*/ 2901821 w 3331029"/>
                    <a:gd name="connsiteY4" fmla="*/ 1772816 h 1912775"/>
                    <a:gd name="connsiteX5" fmla="*/ 3247053 w 3331029"/>
                    <a:gd name="connsiteY5" fmla="*/ 783771 h 1912775"/>
                    <a:gd name="connsiteX6" fmla="*/ 3331029 w 3331029"/>
                    <a:gd name="connsiteY6" fmla="*/ 513184 h 1912775"/>
                    <a:gd name="connsiteX7" fmla="*/ 3331029 w 3331029"/>
                    <a:gd name="connsiteY7" fmla="*/ 158620 h 1912775"/>
                    <a:gd name="connsiteX8" fmla="*/ 2911151 w 3331029"/>
                    <a:gd name="connsiteY8" fmla="*/ 0 h 1912775"/>
                    <a:gd name="connsiteX9" fmla="*/ 2164702 w 3331029"/>
                    <a:gd name="connsiteY9" fmla="*/ 1782147 h 1912775"/>
                    <a:gd name="connsiteX10" fmla="*/ 1436914 w 3331029"/>
                    <a:gd name="connsiteY10" fmla="*/ 0 h 1912775"/>
                    <a:gd name="connsiteX0" fmla="*/ 1436914 w 3331029"/>
                    <a:gd name="connsiteY0" fmla="*/ 0 h 1884784"/>
                    <a:gd name="connsiteX1" fmla="*/ 0 w 3331029"/>
                    <a:gd name="connsiteY1" fmla="*/ 1614196 h 1884784"/>
                    <a:gd name="connsiteX2" fmla="*/ 2948474 w 3331029"/>
                    <a:gd name="connsiteY2" fmla="*/ 1884784 h 1884784"/>
                    <a:gd name="connsiteX3" fmla="*/ 2901821 w 3331029"/>
                    <a:gd name="connsiteY3" fmla="*/ 1772816 h 1884784"/>
                    <a:gd name="connsiteX4" fmla="*/ 3247053 w 3331029"/>
                    <a:gd name="connsiteY4" fmla="*/ 783771 h 1884784"/>
                    <a:gd name="connsiteX5" fmla="*/ 3331029 w 3331029"/>
                    <a:gd name="connsiteY5" fmla="*/ 513184 h 1884784"/>
                    <a:gd name="connsiteX6" fmla="*/ 3331029 w 3331029"/>
                    <a:gd name="connsiteY6" fmla="*/ 158620 h 1884784"/>
                    <a:gd name="connsiteX7" fmla="*/ 2911151 w 3331029"/>
                    <a:gd name="connsiteY7" fmla="*/ 0 h 1884784"/>
                    <a:gd name="connsiteX8" fmla="*/ 2164702 w 3331029"/>
                    <a:gd name="connsiteY8" fmla="*/ 1782147 h 1884784"/>
                    <a:gd name="connsiteX9" fmla="*/ 1436914 w 3331029"/>
                    <a:gd name="connsiteY9" fmla="*/ 0 h 1884784"/>
                    <a:gd name="connsiteX0" fmla="*/ 1436914 w 3331029"/>
                    <a:gd name="connsiteY0" fmla="*/ 0 h 1884784"/>
                    <a:gd name="connsiteX1" fmla="*/ 0 w 3331029"/>
                    <a:gd name="connsiteY1" fmla="*/ 1614196 h 1884784"/>
                    <a:gd name="connsiteX2" fmla="*/ 2948474 w 3331029"/>
                    <a:gd name="connsiteY2" fmla="*/ 1884784 h 1884784"/>
                    <a:gd name="connsiteX3" fmla="*/ 2901821 w 3331029"/>
                    <a:gd name="connsiteY3" fmla="*/ 1772816 h 1884784"/>
                    <a:gd name="connsiteX4" fmla="*/ 3247053 w 3331029"/>
                    <a:gd name="connsiteY4" fmla="*/ 783771 h 1884784"/>
                    <a:gd name="connsiteX5" fmla="*/ 3331029 w 3331029"/>
                    <a:gd name="connsiteY5" fmla="*/ 513184 h 1884784"/>
                    <a:gd name="connsiteX6" fmla="*/ 3331029 w 3331029"/>
                    <a:gd name="connsiteY6" fmla="*/ 158620 h 1884784"/>
                    <a:gd name="connsiteX7" fmla="*/ 2911151 w 3331029"/>
                    <a:gd name="connsiteY7" fmla="*/ 0 h 1884784"/>
                    <a:gd name="connsiteX8" fmla="*/ 2164702 w 3331029"/>
                    <a:gd name="connsiteY8" fmla="*/ 1782147 h 1884784"/>
                    <a:gd name="connsiteX9" fmla="*/ 1436914 w 3331029"/>
                    <a:gd name="connsiteY9" fmla="*/ 0 h 1884784"/>
                    <a:gd name="connsiteX0" fmla="*/ 1436914 w 3331029"/>
                    <a:gd name="connsiteY0" fmla="*/ 0 h 1915295"/>
                    <a:gd name="connsiteX1" fmla="*/ 0 w 3331029"/>
                    <a:gd name="connsiteY1" fmla="*/ 1614196 h 1915295"/>
                    <a:gd name="connsiteX2" fmla="*/ 2948474 w 3331029"/>
                    <a:gd name="connsiteY2" fmla="*/ 1884784 h 1915295"/>
                    <a:gd name="connsiteX3" fmla="*/ 2901821 w 3331029"/>
                    <a:gd name="connsiteY3" fmla="*/ 1772816 h 1915295"/>
                    <a:gd name="connsiteX4" fmla="*/ 3247053 w 3331029"/>
                    <a:gd name="connsiteY4" fmla="*/ 783771 h 1915295"/>
                    <a:gd name="connsiteX5" fmla="*/ 3331029 w 3331029"/>
                    <a:gd name="connsiteY5" fmla="*/ 513184 h 1915295"/>
                    <a:gd name="connsiteX6" fmla="*/ 3331029 w 3331029"/>
                    <a:gd name="connsiteY6" fmla="*/ 158620 h 1915295"/>
                    <a:gd name="connsiteX7" fmla="*/ 2911151 w 3331029"/>
                    <a:gd name="connsiteY7" fmla="*/ 0 h 1915295"/>
                    <a:gd name="connsiteX8" fmla="*/ 2164702 w 3331029"/>
                    <a:gd name="connsiteY8" fmla="*/ 1782147 h 1915295"/>
                    <a:gd name="connsiteX9" fmla="*/ 1436914 w 3331029"/>
                    <a:gd name="connsiteY9" fmla="*/ 0 h 1915295"/>
                    <a:gd name="connsiteX0" fmla="*/ 1436914 w 3331029"/>
                    <a:gd name="connsiteY0" fmla="*/ 0 h 1915295"/>
                    <a:gd name="connsiteX1" fmla="*/ 0 w 3331029"/>
                    <a:gd name="connsiteY1" fmla="*/ 1614196 h 1915295"/>
                    <a:gd name="connsiteX2" fmla="*/ 2948474 w 3331029"/>
                    <a:gd name="connsiteY2" fmla="*/ 1884784 h 1915295"/>
                    <a:gd name="connsiteX3" fmla="*/ 2901821 w 3331029"/>
                    <a:gd name="connsiteY3" fmla="*/ 1772816 h 1915295"/>
                    <a:gd name="connsiteX4" fmla="*/ 3331029 w 3331029"/>
                    <a:gd name="connsiteY4" fmla="*/ 513184 h 1915295"/>
                    <a:gd name="connsiteX5" fmla="*/ 3331029 w 3331029"/>
                    <a:gd name="connsiteY5" fmla="*/ 158620 h 1915295"/>
                    <a:gd name="connsiteX6" fmla="*/ 2911151 w 3331029"/>
                    <a:gd name="connsiteY6" fmla="*/ 0 h 1915295"/>
                    <a:gd name="connsiteX7" fmla="*/ 2164702 w 3331029"/>
                    <a:gd name="connsiteY7" fmla="*/ 1782147 h 1915295"/>
                    <a:gd name="connsiteX8" fmla="*/ 1436914 w 3331029"/>
                    <a:gd name="connsiteY8" fmla="*/ 0 h 1915295"/>
                    <a:gd name="connsiteX0" fmla="*/ 1436914 w 3331029"/>
                    <a:gd name="connsiteY0" fmla="*/ 0 h 1915295"/>
                    <a:gd name="connsiteX1" fmla="*/ 0 w 3331029"/>
                    <a:gd name="connsiteY1" fmla="*/ 1614196 h 1915295"/>
                    <a:gd name="connsiteX2" fmla="*/ 2948474 w 3331029"/>
                    <a:gd name="connsiteY2" fmla="*/ 1884784 h 1915295"/>
                    <a:gd name="connsiteX3" fmla="*/ 2901821 w 3331029"/>
                    <a:gd name="connsiteY3" fmla="*/ 1772816 h 1915295"/>
                    <a:gd name="connsiteX4" fmla="*/ 3331029 w 3331029"/>
                    <a:gd name="connsiteY4" fmla="*/ 513184 h 1915295"/>
                    <a:gd name="connsiteX5" fmla="*/ 3331029 w 3331029"/>
                    <a:gd name="connsiteY5" fmla="*/ 158620 h 1915295"/>
                    <a:gd name="connsiteX6" fmla="*/ 2911151 w 3331029"/>
                    <a:gd name="connsiteY6" fmla="*/ 0 h 1915295"/>
                    <a:gd name="connsiteX7" fmla="*/ 2164702 w 3331029"/>
                    <a:gd name="connsiteY7" fmla="*/ 1782147 h 1915295"/>
                    <a:gd name="connsiteX8" fmla="*/ 1436914 w 3331029"/>
                    <a:gd name="connsiteY8" fmla="*/ 0 h 1915295"/>
                    <a:gd name="connsiteX0" fmla="*/ 1414689 w 3308804"/>
                    <a:gd name="connsiteY0" fmla="*/ 0 h 1917453"/>
                    <a:gd name="connsiteX1" fmla="*/ 0 w 3308804"/>
                    <a:gd name="connsiteY1" fmla="*/ 1623721 h 1917453"/>
                    <a:gd name="connsiteX2" fmla="*/ 2926249 w 3308804"/>
                    <a:gd name="connsiteY2" fmla="*/ 1884784 h 1917453"/>
                    <a:gd name="connsiteX3" fmla="*/ 2879596 w 3308804"/>
                    <a:gd name="connsiteY3" fmla="*/ 1772816 h 1917453"/>
                    <a:gd name="connsiteX4" fmla="*/ 3308804 w 3308804"/>
                    <a:gd name="connsiteY4" fmla="*/ 513184 h 1917453"/>
                    <a:gd name="connsiteX5" fmla="*/ 3308804 w 3308804"/>
                    <a:gd name="connsiteY5" fmla="*/ 158620 h 1917453"/>
                    <a:gd name="connsiteX6" fmla="*/ 2888926 w 3308804"/>
                    <a:gd name="connsiteY6" fmla="*/ 0 h 1917453"/>
                    <a:gd name="connsiteX7" fmla="*/ 2142477 w 3308804"/>
                    <a:gd name="connsiteY7" fmla="*/ 1782147 h 1917453"/>
                    <a:gd name="connsiteX8" fmla="*/ 1414689 w 3308804"/>
                    <a:gd name="connsiteY8" fmla="*/ 0 h 1917453"/>
                    <a:gd name="connsiteX0" fmla="*/ 1417845 w 3311960"/>
                    <a:gd name="connsiteY0" fmla="*/ 0 h 1917453"/>
                    <a:gd name="connsiteX1" fmla="*/ 3156 w 3311960"/>
                    <a:gd name="connsiteY1" fmla="*/ 1623721 h 1917453"/>
                    <a:gd name="connsiteX2" fmla="*/ 2929405 w 3311960"/>
                    <a:gd name="connsiteY2" fmla="*/ 1884784 h 1917453"/>
                    <a:gd name="connsiteX3" fmla="*/ 2882752 w 3311960"/>
                    <a:gd name="connsiteY3" fmla="*/ 1772816 h 1917453"/>
                    <a:gd name="connsiteX4" fmla="*/ 3311960 w 3311960"/>
                    <a:gd name="connsiteY4" fmla="*/ 513184 h 1917453"/>
                    <a:gd name="connsiteX5" fmla="*/ 3311960 w 3311960"/>
                    <a:gd name="connsiteY5" fmla="*/ 158620 h 1917453"/>
                    <a:gd name="connsiteX6" fmla="*/ 2892082 w 3311960"/>
                    <a:gd name="connsiteY6" fmla="*/ 0 h 1917453"/>
                    <a:gd name="connsiteX7" fmla="*/ 2145633 w 3311960"/>
                    <a:gd name="connsiteY7" fmla="*/ 1782147 h 1917453"/>
                    <a:gd name="connsiteX8" fmla="*/ 1417845 w 3311960"/>
                    <a:gd name="connsiteY8" fmla="*/ 0 h 1917453"/>
                    <a:gd name="connsiteX0" fmla="*/ 1421914 w 3316029"/>
                    <a:gd name="connsiteY0" fmla="*/ 0 h 1917453"/>
                    <a:gd name="connsiteX1" fmla="*/ 7225 w 3316029"/>
                    <a:gd name="connsiteY1" fmla="*/ 1623721 h 1917453"/>
                    <a:gd name="connsiteX2" fmla="*/ 2933474 w 3316029"/>
                    <a:gd name="connsiteY2" fmla="*/ 1884784 h 1917453"/>
                    <a:gd name="connsiteX3" fmla="*/ 2886821 w 3316029"/>
                    <a:gd name="connsiteY3" fmla="*/ 1772816 h 1917453"/>
                    <a:gd name="connsiteX4" fmla="*/ 3316029 w 3316029"/>
                    <a:gd name="connsiteY4" fmla="*/ 513184 h 1917453"/>
                    <a:gd name="connsiteX5" fmla="*/ 3316029 w 3316029"/>
                    <a:gd name="connsiteY5" fmla="*/ 158620 h 1917453"/>
                    <a:gd name="connsiteX6" fmla="*/ 2896151 w 3316029"/>
                    <a:gd name="connsiteY6" fmla="*/ 0 h 1917453"/>
                    <a:gd name="connsiteX7" fmla="*/ 2149702 w 3316029"/>
                    <a:gd name="connsiteY7" fmla="*/ 1782147 h 1917453"/>
                    <a:gd name="connsiteX8" fmla="*/ 1421914 w 3316029"/>
                    <a:gd name="connsiteY8" fmla="*/ 0 h 1917453"/>
                    <a:gd name="connsiteX0" fmla="*/ 1421914 w 3316029"/>
                    <a:gd name="connsiteY0" fmla="*/ 0 h 1917453"/>
                    <a:gd name="connsiteX1" fmla="*/ 7225 w 3316029"/>
                    <a:gd name="connsiteY1" fmla="*/ 1623721 h 1917453"/>
                    <a:gd name="connsiteX2" fmla="*/ 2933474 w 3316029"/>
                    <a:gd name="connsiteY2" fmla="*/ 1884784 h 1917453"/>
                    <a:gd name="connsiteX3" fmla="*/ 2886821 w 3316029"/>
                    <a:gd name="connsiteY3" fmla="*/ 1772816 h 1917453"/>
                    <a:gd name="connsiteX4" fmla="*/ 3316029 w 3316029"/>
                    <a:gd name="connsiteY4" fmla="*/ 513184 h 1917453"/>
                    <a:gd name="connsiteX5" fmla="*/ 3316029 w 3316029"/>
                    <a:gd name="connsiteY5" fmla="*/ 158620 h 1917453"/>
                    <a:gd name="connsiteX6" fmla="*/ 2896151 w 3316029"/>
                    <a:gd name="connsiteY6" fmla="*/ 0 h 1917453"/>
                    <a:gd name="connsiteX7" fmla="*/ 2149702 w 3316029"/>
                    <a:gd name="connsiteY7" fmla="*/ 1782147 h 1917453"/>
                    <a:gd name="connsiteX8" fmla="*/ 1421914 w 3316029"/>
                    <a:gd name="connsiteY8" fmla="*/ 0 h 1917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16029" h="1917453">
                      <a:moveTo>
                        <a:pt x="1421914" y="0"/>
                      </a:moveTo>
                      <a:cubicBezTo>
                        <a:pt x="-316689" y="435428"/>
                        <a:pt x="45908" y="1617501"/>
                        <a:pt x="7225" y="1623721"/>
                      </a:cubicBezTo>
                      <a:cubicBezTo>
                        <a:pt x="868946" y="1956513"/>
                        <a:pt x="1941319" y="1943878"/>
                        <a:pt x="2933474" y="1884784"/>
                      </a:cubicBezTo>
                      <a:lnTo>
                        <a:pt x="2886821" y="1772816"/>
                      </a:lnTo>
                      <a:lnTo>
                        <a:pt x="3316029" y="513184"/>
                      </a:lnTo>
                      <a:lnTo>
                        <a:pt x="3316029" y="158620"/>
                      </a:lnTo>
                      <a:lnTo>
                        <a:pt x="2896151" y="0"/>
                      </a:lnTo>
                      <a:cubicBezTo>
                        <a:pt x="2731310" y="584719"/>
                        <a:pt x="2473163" y="1374710"/>
                        <a:pt x="2149702" y="1782147"/>
                      </a:cubicBezTo>
                      <a:cubicBezTo>
                        <a:pt x="1826241" y="1377820"/>
                        <a:pt x="1568094" y="572278"/>
                        <a:pt x="1421914" y="0"/>
                      </a:cubicBezTo>
                      <a:close/>
                    </a:path>
                  </a:pathLst>
                </a:cu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9" name="Freeform 49"/>
                <p:cNvSpPr/>
                <p:nvPr/>
              </p:nvSpPr>
              <p:spPr>
                <a:xfrm>
                  <a:off x="7703901" y="4266374"/>
                  <a:ext cx="426246" cy="1117201"/>
                </a:xfrm>
                <a:custGeom>
                  <a:avLst/>
                  <a:gdLst>
                    <a:gd name="connsiteX0" fmla="*/ 73823 w 426246"/>
                    <a:gd name="connsiteY0" fmla="*/ 402431 h 1117201"/>
                    <a:gd name="connsiteX1" fmla="*/ 352424 w 426246"/>
                    <a:gd name="connsiteY1" fmla="*/ 402431 h 1117201"/>
                    <a:gd name="connsiteX2" fmla="*/ 426246 w 426246"/>
                    <a:gd name="connsiteY2" fmla="*/ 726281 h 1117201"/>
                    <a:gd name="connsiteX3" fmla="*/ 426245 w 426246"/>
                    <a:gd name="connsiteY3" fmla="*/ 726281 h 1117201"/>
                    <a:gd name="connsiteX4" fmla="*/ 213123 w 426246"/>
                    <a:gd name="connsiteY4" fmla="*/ 1117201 h 1117201"/>
                    <a:gd name="connsiteX5" fmla="*/ 0 w 426246"/>
                    <a:gd name="connsiteY5" fmla="*/ 726281 h 1117201"/>
                    <a:gd name="connsiteX6" fmla="*/ 1 w 426246"/>
                    <a:gd name="connsiteY6" fmla="*/ 726281 h 1117201"/>
                    <a:gd name="connsiteX7" fmla="*/ 46437 w 426246"/>
                    <a:gd name="connsiteY7" fmla="*/ 0 h 1117201"/>
                    <a:gd name="connsiteX8" fmla="*/ 379811 w 426246"/>
                    <a:gd name="connsiteY8" fmla="*/ 0 h 1117201"/>
                    <a:gd name="connsiteX9" fmla="*/ 426246 w 426246"/>
                    <a:gd name="connsiteY9" fmla="*/ 46435 h 1117201"/>
                    <a:gd name="connsiteX10" fmla="*/ 358380 w 426246"/>
                    <a:gd name="connsiteY10" fmla="*/ 335756 h 1117201"/>
                    <a:gd name="connsiteX11" fmla="*/ 65488 w 426246"/>
                    <a:gd name="connsiteY11" fmla="*/ 335756 h 1117201"/>
                    <a:gd name="connsiteX12" fmla="*/ 2 w 426246"/>
                    <a:gd name="connsiteY12" fmla="*/ 46435 h 1117201"/>
                    <a:gd name="connsiteX13" fmla="*/ 46437 w 426246"/>
                    <a:gd name="connsiteY13" fmla="*/ 0 h 1117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6246" h="1117201">
                      <a:moveTo>
                        <a:pt x="73823" y="402431"/>
                      </a:moveTo>
                      <a:lnTo>
                        <a:pt x="352424" y="402431"/>
                      </a:lnTo>
                      <a:lnTo>
                        <a:pt x="426246" y="726281"/>
                      </a:lnTo>
                      <a:lnTo>
                        <a:pt x="426245" y="726281"/>
                      </a:lnTo>
                      <a:lnTo>
                        <a:pt x="213123" y="1117201"/>
                      </a:lnTo>
                      <a:lnTo>
                        <a:pt x="0" y="726281"/>
                      </a:lnTo>
                      <a:lnTo>
                        <a:pt x="1" y="726281"/>
                      </a:lnTo>
                      <a:close/>
                      <a:moveTo>
                        <a:pt x="46437" y="0"/>
                      </a:moveTo>
                      <a:lnTo>
                        <a:pt x="379811" y="0"/>
                      </a:lnTo>
                      <a:cubicBezTo>
                        <a:pt x="405456" y="0"/>
                        <a:pt x="426246" y="20790"/>
                        <a:pt x="426246" y="46435"/>
                      </a:cubicBezTo>
                      <a:lnTo>
                        <a:pt x="358380" y="335756"/>
                      </a:lnTo>
                      <a:lnTo>
                        <a:pt x="65488" y="335756"/>
                      </a:lnTo>
                      <a:cubicBezTo>
                        <a:pt x="49813" y="273249"/>
                        <a:pt x="2" y="102394"/>
                        <a:pt x="2" y="46435"/>
                      </a:cubicBezTo>
                      <a:cubicBezTo>
                        <a:pt x="2" y="20790"/>
                        <a:pt x="20792" y="0"/>
                        <a:pt x="46437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" name="Freeform 50"/>
                <p:cNvSpPr/>
                <p:nvPr/>
              </p:nvSpPr>
              <p:spPr>
                <a:xfrm>
                  <a:off x="8847534" y="3857942"/>
                  <a:ext cx="1547508" cy="2041525"/>
                </a:xfrm>
                <a:custGeom>
                  <a:avLst/>
                  <a:gdLst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50850 w 1543050"/>
                    <a:gd name="connsiteY16" fmla="*/ 939800 h 2041525"/>
                    <a:gd name="connsiteX17" fmla="*/ 539750 w 1543050"/>
                    <a:gd name="connsiteY17" fmla="*/ 679450 h 2041525"/>
                    <a:gd name="connsiteX18" fmla="*/ 558800 w 1543050"/>
                    <a:gd name="connsiteY18" fmla="*/ 536575 h 2041525"/>
                    <a:gd name="connsiteX19" fmla="*/ 552450 w 1543050"/>
                    <a:gd name="connsiteY19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50850 w 1543050"/>
                    <a:gd name="connsiteY16" fmla="*/ 939800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50850 w 1543050"/>
                    <a:gd name="connsiteY16" fmla="*/ 939800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50850 w 1543050"/>
                    <a:gd name="connsiteY16" fmla="*/ 939800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50850 w 1543050"/>
                    <a:gd name="connsiteY16" fmla="*/ 939800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98550 w 1543050"/>
                    <a:gd name="connsiteY15" fmla="*/ 942975 h 2041525"/>
                    <a:gd name="connsiteX16" fmla="*/ 463550 w 1543050"/>
                    <a:gd name="connsiteY16" fmla="*/ 930275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8800 w 1543050"/>
                    <a:gd name="connsiteY17" fmla="*/ 536575 h 2041525"/>
                    <a:gd name="connsiteX18" fmla="*/ 552450 w 1543050"/>
                    <a:gd name="connsiteY18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2450 w 1543050"/>
                    <a:gd name="connsiteY17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2450 w 1543050"/>
                    <a:gd name="connsiteY17" fmla="*/ 9525 h 2041525"/>
                    <a:gd name="connsiteX0" fmla="*/ 552450 w 1543050"/>
                    <a:gd name="connsiteY0" fmla="*/ 952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2450 w 1543050"/>
                    <a:gd name="connsiteY17" fmla="*/ 9525 h 2041525"/>
                    <a:gd name="connsiteX0" fmla="*/ 56197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61975 w 1543050"/>
                    <a:gd name="connsiteY17" fmla="*/ 3175 h 2041525"/>
                    <a:gd name="connsiteX0" fmla="*/ 56197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6197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00125 w 1543050"/>
                    <a:gd name="connsiteY14" fmla="*/ 584200 h 2041525"/>
                    <a:gd name="connsiteX15" fmla="*/ 1079500 w 1543050"/>
                    <a:gd name="connsiteY15" fmla="*/ 936625 h 2041525"/>
                    <a:gd name="connsiteX16" fmla="*/ 463550 w 1543050"/>
                    <a:gd name="connsiteY16" fmla="*/ 930275 h 2041525"/>
                    <a:gd name="connsiteX17" fmla="*/ 555625 w 1543050"/>
                    <a:gd name="connsiteY17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30300 w 1543050"/>
                    <a:gd name="connsiteY11" fmla="*/ 504825 h 2041525"/>
                    <a:gd name="connsiteX12" fmla="*/ 1120775 w 1543050"/>
                    <a:gd name="connsiteY12" fmla="*/ 12700 h 2041525"/>
                    <a:gd name="connsiteX13" fmla="*/ 996950 w 1543050"/>
                    <a:gd name="connsiteY13" fmla="*/ 12700 h 2041525"/>
                    <a:gd name="connsiteX14" fmla="*/ 1079500 w 1543050"/>
                    <a:gd name="connsiteY14" fmla="*/ 936625 h 2041525"/>
                    <a:gd name="connsiteX15" fmla="*/ 463550 w 1543050"/>
                    <a:gd name="connsiteY15" fmla="*/ 930275 h 2041525"/>
                    <a:gd name="connsiteX16" fmla="*/ 555625 w 1543050"/>
                    <a:gd name="connsiteY16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43000 w 1543050"/>
                    <a:gd name="connsiteY10" fmla="*/ 657225 h 2041525"/>
                    <a:gd name="connsiteX11" fmla="*/ 1120775 w 1543050"/>
                    <a:gd name="connsiteY11" fmla="*/ 12700 h 2041525"/>
                    <a:gd name="connsiteX12" fmla="*/ 996950 w 1543050"/>
                    <a:gd name="connsiteY12" fmla="*/ 12700 h 2041525"/>
                    <a:gd name="connsiteX13" fmla="*/ 1079500 w 1543050"/>
                    <a:gd name="connsiteY13" fmla="*/ 936625 h 2041525"/>
                    <a:gd name="connsiteX14" fmla="*/ 463550 w 1543050"/>
                    <a:gd name="connsiteY14" fmla="*/ 930275 h 2041525"/>
                    <a:gd name="connsiteX15" fmla="*/ 555625 w 1543050"/>
                    <a:gd name="connsiteY15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368300 w 1543050"/>
                    <a:gd name="connsiteY3" fmla="*/ 796925 h 2041525"/>
                    <a:gd name="connsiteX4" fmla="*/ 0 w 1543050"/>
                    <a:gd name="connsiteY4" fmla="*/ 1873250 h 2041525"/>
                    <a:gd name="connsiteX5" fmla="*/ 57150 w 1543050"/>
                    <a:gd name="connsiteY5" fmla="*/ 1997075 h 2041525"/>
                    <a:gd name="connsiteX6" fmla="*/ 171450 w 1543050"/>
                    <a:gd name="connsiteY6" fmla="*/ 2041525 h 2041525"/>
                    <a:gd name="connsiteX7" fmla="*/ 1381125 w 1543050"/>
                    <a:gd name="connsiteY7" fmla="*/ 2041525 h 2041525"/>
                    <a:gd name="connsiteX8" fmla="*/ 1508125 w 1543050"/>
                    <a:gd name="connsiteY8" fmla="*/ 1990725 h 2041525"/>
                    <a:gd name="connsiteX9" fmla="*/ 1543050 w 1543050"/>
                    <a:gd name="connsiteY9" fmla="*/ 1806575 h 2041525"/>
                    <a:gd name="connsiteX10" fmla="*/ 1120775 w 1543050"/>
                    <a:gd name="connsiteY10" fmla="*/ 12700 h 2041525"/>
                    <a:gd name="connsiteX11" fmla="*/ 996950 w 1543050"/>
                    <a:gd name="connsiteY11" fmla="*/ 12700 h 2041525"/>
                    <a:gd name="connsiteX12" fmla="*/ 1079500 w 1543050"/>
                    <a:gd name="connsiteY12" fmla="*/ 936625 h 2041525"/>
                    <a:gd name="connsiteX13" fmla="*/ 463550 w 1543050"/>
                    <a:gd name="connsiteY13" fmla="*/ 930275 h 2041525"/>
                    <a:gd name="connsiteX14" fmla="*/ 555625 w 1543050"/>
                    <a:gd name="connsiteY14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422275 w 1543050"/>
                    <a:gd name="connsiteY2" fmla="*/ 574675 h 2041525"/>
                    <a:gd name="connsiteX3" fmla="*/ 0 w 1543050"/>
                    <a:gd name="connsiteY3" fmla="*/ 1873250 h 2041525"/>
                    <a:gd name="connsiteX4" fmla="*/ 57150 w 1543050"/>
                    <a:gd name="connsiteY4" fmla="*/ 1997075 h 2041525"/>
                    <a:gd name="connsiteX5" fmla="*/ 171450 w 1543050"/>
                    <a:gd name="connsiteY5" fmla="*/ 2041525 h 2041525"/>
                    <a:gd name="connsiteX6" fmla="*/ 1381125 w 1543050"/>
                    <a:gd name="connsiteY6" fmla="*/ 2041525 h 2041525"/>
                    <a:gd name="connsiteX7" fmla="*/ 1508125 w 1543050"/>
                    <a:gd name="connsiteY7" fmla="*/ 1990725 h 2041525"/>
                    <a:gd name="connsiteX8" fmla="*/ 1543050 w 1543050"/>
                    <a:gd name="connsiteY8" fmla="*/ 180657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16025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08125 w 1543050"/>
                    <a:gd name="connsiteY6" fmla="*/ 1990725 h 2041525"/>
                    <a:gd name="connsiteX7" fmla="*/ 1543050 w 1543050"/>
                    <a:gd name="connsiteY7" fmla="*/ 1806575 h 2041525"/>
                    <a:gd name="connsiteX8" fmla="*/ 1244600 w 1543050"/>
                    <a:gd name="connsiteY8" fmla="*/ 962025 h 2041525"/>
                    <a:gd name="connsiteX9" fmla="*/ 1120775 w 1543050"/>
                    <a:gd name="connsiteY9" fmla="*/ 12700 h 2041525"/>
                    <a:gd name="connsiteX10" fmla="*/ 996950 w 1543050"/>
                    <a:gd name="connsiteY10" fmla="*/ 12700 h 2041525"/>
                    <a:gd name="connsiteX11" fmla="*/ 1079500 w 1543050"/>
                    <a:gd name="connsiteY11" fmla="*/ 936625 h 2041525"/>
                    <a:gd name="connsiteX12" fmla="*/ 463550 w 1543050"/>
                    <a:gd name="connsiteY12" fmla="*/ 930275 h 2041525"/>
                    <a:gd name="connsiteX13" fmla="*/ 555625 w 1543050"/>
                    <a:gd name="connsiteY13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57150 w 1543050"/>
                    <a:gd name="connsiteY3" fmla="*/ 1997075 h 2041525"/>
                    <a:gd name="connsiteX4" fmla="*/ 171450 w 1543050"/>
                    <a:gd name="connsiteY4" fmla="*/ 2041525 h 2041525"/>
                    <a:gd name="connsiteX5" fmla="*/ 1381125 w 1543050"/>
                    <a:gd name="connsiteY5" fmla="*/ 2041525 h 2041525"/>
                    <a:gd name="connsiteX6" fmla="*/ 1543050 w 1543050"/>
                    <a:gd name="connsiteY6" fmla="*/ 1806575 h 2041525"/>
                    <a:gd name="connsiteX7" fmla="*/ 1244600 w 1543050"/>
                    <a:gd name="connsiteY7" fmla="*/ 962025 h 2041525"/>
                    <a:gd name="connsiteX8" fmla="*/ 1120775 w 1543050"/>
                    <a:gd name="connsiteY8" fmla="*/ 12700 h 2041525"/>
                    <a:gd name="connsiteX9" fmla="*/ 996950 w 1543050"/>
                    <a:gd name="connsiteY9" fmla="*/ 12700 h 2041525"/>
                    <a:gd name="connsiteX10" fmla="*/ 1079500 w 1543050"/>
                    <a:gd name="connsiteY10" fmla="*/ 936625 h 2041525"/>
                    <a:gd name="connsiteX11" fmla="*/ 463550 w 1543050"/>
                    <a:gd name="connsiteY11" fmla="*/ 930275 h 2041525"/>
                    <a:gd name="connsiteX12" fmla="*/ 555625 w 1543050"/>
                    <a:gd name="connsiteY12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171450 w 1543050"/>
                    <a:gd name="connsiteY3" fmla="*/ 2041525 h 2041525"/>
                    <a:gd name="connsiteX4" fmla="*/ 1381125 w 1543050"/>
                    <a:gd name="connsiteY4" fmla="*/ 2041525 h 2041525"/>
                    <a:gd name="connsiteX5" fmla="*/ 1543050 w 1543050"/>
                    <a:gd name="connsiteY5" fmla="*/ 1806575 h 2041525"/>
                    <a:gd name="connsiteX6" fmla="*/ 1244600 w 1543050"/>
                    <a:gd name="connsiteY6" fmla="*/ 962025 h 2041525"/>
                    <a:gd name="connsiteX7" fmla="*/ 1120775 w 1543050"/>
                    <a:gd name="connsiteY7" fmla="*/ 12700 h 2041525"/>
                    <a:gd name="connsiteX8" fmla="*/ 996950 w 1543050"/>
                    <a:gd name="connsiteY8" fmla="*/ 12700 h 2041525"/>
                    <a:gd name="connsiteX9" fmla="*/ 1079500 w 1543050"/>
                    <a:gd name="connsiteY9" fmla="*/ 936625 h 2041525"/>
                    <a:gd name="connsiteX10" fmla="*/ 463550 w 1543050"/>
                    <a:gd name="connsiteY10" fmla="*/ 930275 h 2041525"/>
                    <a:gd name="connsiteX11" fmla="*/ 555625 w 1543050"/>
                    <a:gd name="connsiteY11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171450 w 1543050"/>
                    <a:gd name="connsiteY3" fmla="*/ 2041525 h 2041525"/>
                    <a:gd name="connsiteX4" fmla="*/ 1381125 w 1543050"/>
                    <a:gd name="connsiteY4" fmla="*/ 2041525 h 2041525"/>
                    <a:gd name="connsiteX5" fmla="*/ 1543050 w 1543050"/>
                    <a:gd name="connsiteY5" fmla="*/ 1806575 h 2041525"/>
                    <a:gd name="connsiteX6" fmla="*/ 1244600 w 1543050"/>
                    <a:gd name="connsiteY6" fmla="*/ 962025 h 2041525"/>
                    <a:gd name="connsiteX7" fmla="*/ 1120775 w 1543050"/>
                    <a:gd name="connsiteY7" fmla="*/ 12700 h 2041525"/>
                    <a:gd name="connsiteX8" fmla="*/ 996950 w 1543050"/>
                    <a:gd name="connsiteY8" fmla="*/ 12700 h 2041525"/>
                    <a:gd name="connsiteX9" fmla="*/ 1079500 w 1543050"/>
                    <a:gd name="connsiteY9" fmla="*/ 936625 h 2041525"/>
                    <a:gd name="connsiteX10" fmla="*/ 463550 w 1543050"/>
                    <a:gd name="connsiteY10" fmla="*/ 930275 h 2041525"/>
                    <a:gd name="connsiteX11" fmla="*/ 555625 w 1543050"/>
                    <a:gd name="connsiteY11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171450 w 1543050"/>
                    <a:gd name="connsiteY3" fmla="*/ 2041525 h 2041525"/>
                    <a:gd name="connsiteX4" fmla="*/ 1381125 w 1543050"/>
                    <a:gd name="connsiteY4" fmla="*/ 2041525 h 2041525"/>
                    <a:gd name="connsiteX5" fmla="*/ 1543050 w 1543050"/>
                    <a:gd name="connsiteY5" fmla="*/ 1806575 h 2041525"/>
                    <a:gd name="connsiteX6" fmla="*/ 1244600 w 1543050"/>
                    <a:gd name="connsiteY6" fmla="*/ 962025 h 2041525"/>
                    <a:gd name="connsiteX7" fmla="*/ 1120775 w 1543050"/>
                    <a:gd name="connsiteY7" fmla="*/ 12700 h 2041525"/>
                    <a:gd name="connsiteX8" fmla="*/ 996950 w 1543050"/>
                    <a:gd name="connsiteY8" fmla="*/ 12700 h 2041525"/>
                    <a:gd name="connsiteX9" fmla="*/ 1079500 w 1543050"/>
                    <a:gd name="connsiteY9" fmla="*/ 936625 h 2041525"/>
                    <a:gd name="connsiteX10" fmla="*/ 463550 w 1543050"/>
                    <a:gd name="connsiteY10" fmla="*/ 930275 h 2041525"/>
                    <a:gd name="connsiteX11" fmla="*/ 555625 w 1543050"/>
                    <a:gd name="connsiteY11" fmla="*/ 3175 h 2041525"/>
                    <a:gd name="connsiteX0" fmla="*/ 555625 w 1543050"/>
                    <a:gd name="connsiteY0" fmla="*/ 3175 h 2041525"/>
                    <a:gd name="connsiteX1" fmla="*/ 422275 w 1543050"/>
                    <a:gd name="connsiteY1" fmla="*/ 0 h 2041525"/>
                    <a:gd name="connsiteX2" fmla="*/ 0 w 1543050"/>
                    <a:gd name="connsiteY2" fmla="*/ 1873250 h 2041525"/>
                    <a:gd name="connsiteX3" fmla="*/ 171450 w 1543050"/>
                    <a:gd name="connsiteY3" fmla="*/ 2041525 h 2041525"/>
                    <a:gd name="connsiteX4" fmla="*/ 1381125 w 1543050"/>
                    <a:gd name="connsiteY4" fmla="*/ 2041525 h 2041525"/>
                    <a:gd name="connsiteX5" fmla="*/ 1543050 w 1543050"/>
                    <a:gd name="connsiteY5" fmla="*/ 1806575 h 2041525"/>
                    <a:gd name="connsiteX6" fmla="*/ 1244600 w 1543050"/>
                    <a:gd name="connsiteY6" fmla="*/ 962025 h 2041525"/>
                    <a:gd name="connsiteX7" fmla="*/ 1120775 w 1543050"/>
                    <a:gd name="connsiteY7" fmla="*/ 12700 h 2041525"/>
                    <a:gd name="connsiteX8" fmla="*/ 996950 w 1543050"/>
                    <a:gd name="connsiteY8" fmla="*/ 12700 h 2041525"/>
                    <a:gd name="connsiteX9" fmla="*/ 1079500 w 1543050"/>
                    <a:gd name="connsiteY9" fmla="*/ 936625 h 2041525"/>
                    <a:gd name="connsiteX10" fmla="*/ 463550 w 1543050"/>
                    <a:gd name="connsiteY10" fmla="*/ 930275 h 2041525"/>
                    <a:gd name="connsiteX11" fmla="*/ 555625 w 1543050"/>
                    <a:gd name="connsiteY11" fmla="*/ 3175 h 2041525"/>
                    <a:gd name="connsiteX0" fmla="*/ 555625 w 1546413"/>
                    <a:gd name="connsiteY0" fmla="*/ 3175 h 2041525"/>
                    <a:gd name="connsiteX1" fmla="*/ 422275 w 1546413"/>
                    <a:gd name="connsiteY1" fmla="*/ 0 h 2041525"/>
                    <a:gd name="connsiteX2" fmla="*/ 0 w 1546413"/>
                    <a:gd name="connsiteY2" fmla="*/ 1873250 h 2041525"/>
                    <a:gd name="connsiteX3" fmla="*/ 171450 w 1546413"/>
                    <a:gd name="connsiteY3" fmla="*/ 2041525 h 2041525"/>
                    <a:gd name="connsiteX4" fmla="*/ 1381125 w 1546413"/>
                    <a:gd name="connsiteY4" fmla="*/ 2041525 h 2041525"/>
                    <a:gd name="connsiteX5" fmla="*/ 1543050 w 1546413"/>
                    <a:gd name="connsiteY5" fmla="*/ 1806575 h 2041525"/>
                    <a:gd name="connsiteX6" fmla="*/ 1244600 w 1546413"/>
                    <a:gd name="connsiteY6" fmla="*/ 962025 h 2041525"/>
                    <a:gd name="connsiteX7" fmla="*/ 1120775 w 1546413"/>
                    <a:gd name="connsiteY7" fmla="*/ 12700 h 2041525"/>
                    <a:gd name="connsiteX8" fmla="*/ 996950 w 1546413"/>
                    <a:gd name="connsiteY8" fmla="*/ 12700 h 2041525"/>
                    <a:gd name="connsiteX9" fmla="*/ 1079500 w 1546413"/>
                    <a:gd name="connsiteY9" fmla="*/ 936625 h 2041525"/>
                    <a:gd name="connsiteX10" fmla="*/ 463550 w 1546413"/>
                    <a:gd name="connsiteY10" fmla="*/ 930275 h 2041525"/>
                    <a:gd name="connsiteX11" fmla="*/ 555625 w 1546413"/>
                    <a:gd name="connsiteY11" fmla="*/ 3175 h 2041525"/>
                    <a:gd name="connsiteX0" fmla="*/ 557163 w 1547951"/>
                    <a:gd name="connsiteY0" fmla="*/ 3175 h 2041525"/>
                    <a:gd name="connsiteX1" fmla="*/ 423813 w 1547951"/>
                    <a:gd name="connsiteY1" fmla="*/ 0 h 2041525"/>
                    <a:gd name="connsiteX2" fmla="*/ 1538 w 1547951"/>
                    <a:gd name="connsiteY2" fmla="*/ 1873250 h 2041525"/>
                    <a:gd name="connsiteX3" fmla="*/ 172988 w 1547951"/>
                    <a:gd name="connsiteY3" fmla="*/ 2041525 h 2041525"/>
                    <a:gd name="connsiteX4" fmla="*/ 1382663 w 1547951"/>
                    <a:gd name="connsiteY4" fmla="*/ 2041525 h 2041525"/>
                    <a:gd name="connsiteX5" fmla="*/ 1544588 w 1547951"/>
                    <a:gd name="connsiteY5" fmla="*/ 1806575 h 2041525"/>
                    <a:gd name="connsiteX6" fmla="*/ 1246138 w 1547951"/>
                    <a:gd name="connsiteY6" fmla="*/ 962025 h 2041525"/>
                    <a:gd name="connsiteX7" fmla="*/ 1122313 w 1547951"/>
                    <a:gd name="connsiteY7" fmla="*/ 12700 h 2041525"/>
                    <a:gd name="connsiteX8" fmla="*/ 998488 w 1547951"/>
                    <a:gd name="connsiteY8" fmla="*/ 12700 h 2041525"/>
                    <a:gd name="connsiteX9" fmla="*/ 1081038 w 1547951"/>
                    <a:gd name="connsiteY9" fmla="*/ 936625 h 2041525"/>
                    <a:gd name="connsiteX10" fmla="*/ 465088 w 1547951"/>
                    <a:gd name="connsiteY10" fmla="*/ 930275 h 2041525"/>
                    <a:gd name="connsiteX11" fmla="*/ 557163 w 1547951"/>
                    <a:gd name="connsiteY11" fmla="*/ 3175 h 2041525"/>
                    <a:gd name="connsiteX0" fmla="*/ 557820 w 1548608"/>
                    <a:gd name="connsiteY0" fmla="*/ 3175 h 2041525"/>
                    <a:gd name="connsiteX1" fmla="*/ 424470 w 1548608"/>
                    <a:gd name="connsiteY1" fmla="*/ 0 h 2041525"/>
                    <a:gd name="connsiteX2" fmla="*/ 2195 w 1548608"/>
                    <a:gd name="connsiteY2" fmla="*/ 1873250 h 2041525"/>
                    <a:gd name="connsiteX3" fmla="*/ 173645 w 1548608"/>
                    <a:gd name="connsiteY3" fmla="*/ 2041525 h 2041525"/>
                    <a:gd name="connsiteX4" fmla="*/ 1383320 w 1548608"/>
                    <a:gd name="connsiteY4" fmla="*/ 2041525 h 2041525"/>
                    <a:gd name="connsiteX5" fmla="*/ 1545245 w 1548608"/>
                    <a:gd name="connsiteY5" fmla="*/ 1806575 h 2041525"/>
                    <a:gd name="connsiteX6" fmla="*/ 1246795 w 1548608"/>
                    <a:gd name="connsiteY6" fmla="*/ 962025 h 2041525"/>
                    <a:gd name="connsiteX7" fmla="*/ 1122970 w 1548608"/>
                    <a:gd name="connsiteY7" fmla="*/ 12700 h 2041525"/>
                    <a:gd name="connsiteX8" fmla="*/ 999145 w 1548608"/>
                    <a:gd name="connsiteY8" fmla="*/ 12700 h 2041525"/>
                    <a:gd name="connsiteX9" fmla="*/ 1081695 w 1548608"/>
                    <a:gd name="connsiteY9" fmla="*/ 936625 h 2041525"/>
                    <a:gd name="connsiteX10" fmla="*/ 465745 w 1548608"/>
                    <a:gd name="connsiteY10" fmla="*/ 930275 h 2041525"/>
                    <a:gd name="connsiteX11" fmla="*/ 557820 w 1548608"/>
                    <a:gd name="connsiteY11" fmla="*/ 3175 h 2041525"/>
                    <a:gd name="connsiteX0" fmla="*/ 557820 w 1547508"/>
                    <a:gd name="connsiteY0" fmla="*/ 3175 h 2041525"/>
                    <a:gd name="connsiteX1" fmla="*/ 424470 w 1547508"/>
                    <a:gd name="connsiteY1" fmla="*/ 0 h 2041525"/>
                    <a:gd name="connsiteX2" fmla="*/ 2195 w 1547508"/>
                    <a:gd name="connsiteY2" fmla="*/ 1873250 h 2041525"/>
                    <a:gd name="connsiteX3" fmla="*/ 173645 w 1547508"/>
                    <a:gd name="connsiteY3" fmla="*/ 2041525 h 2041525"/>
                    <a:gd name="connsiteX4" fmla="*/ 1383320 w 1547508"/>
                    <a:gd name="connsiteY4" fmla="*/ 2041525 h 2041525"/>
                    <a:gd name="connsiteX5" fmla="*/ 1545245 w 1547508"/>
                    <a:gd name="connsiteY5" fmla="*/ 1806575 h 2041525"/>
                    <a:gd name="connsiteX6" fmla="*/ 1246795 w 1547508"/>
                    <a:gd name="connsiteY6" fmla="*/ 962025 h 2041525"/>
                    <a:gd name="connsiteX7" fmla="*/ 1122970 w 1547508"/>
                    <a:gd name="connsiteY7" fmla="*/ 12700 h 2041525"/>
                    <a:gd name="connsiteX8" fmla="*/ 999145 w 1547508"/>
                    <a:gd name="connsiteY8" fmla="*/ 12700 h 2041525"/>
                    <a:gd name="connsiteX9" fmla="*/ 1081695 w 1547508"/>
                    <a:gd name="connsiteY9" fmla="*/ 936625 h 2041525"/>
                    <a:gd name="connsiteX10" fmla="*/ 465745 w 1547508"/>
                    <a:gd name="connsiteY10" fmla="*/ 930275 h 2041525"/>
                    <a:gd name="connsiteX11" fmla="*/ 557820 w 1547508"/>
                    <a:gd name="connsiteY11" fmla="*/ 3175 h 2041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547508" h="2041525">
                      <a:moveTo>
                        <a:pt x="557820" y="3175"/>
                      </a:moveTo>
                      <a:lnTo>
                        <a:pt x="424470" y="0"/>
                      </a:lnTo>
                      <a:cubicBezTo>
                        <a:pt x="486912" y="795867"/>
                        <a:pt x="184228" y="1204383"/>
                        <a:pt x="2195" y="1873250"/>
                      </a:cubicBezTo>
                      <a:cubicBezTo>
                        <a:pt x="-10505" y="1940454"/>
                        <a:pt x="29976" y="2035439"/>
                        <a:pt x="173645" y="2041525"/>
                      </a:cubicBezTo>
                      <a:lnTo>
                        <a:pt x="1383320" y="2041525"/>
                      </a:lnTo>
                      <a:cubicBezTo>
                        <a:pt x="1492064" y="2017977"/>
                        <a:pt x="1561120" y="1948392"/>
                        <a:pt x="1545245" y="1806575"/>
                      </a:cubicBezTo>
                      <a:cubicBezTo>
                        <a:pt x="1496562" y="1635125"/>
                        <a:pt x="1333049" y="1194329"/>
                        <a:pt x="1246795" y="962025"/>
                      </a:cubicBezTo>
                      <a:cubicBezTo>
                        <a:pt x="1106566" y="609071"/>
                        <a:pt x="1134083" y="189971"/>
                        <a:pt x="1122970" y="12700"/>
                      </a:cubicBezTo>
                      <a:lnTo>
                        <a:pt x="999145" y="12700"/>
                      </a:lnTo>
                      <a:cubicBezTo>
                        <a:pt x="1004966" y="176212"/>
                        <a:pt x="961045" y="701146"/>
                        <a:pt x="1081695" y="936625"/>
                      </a:cubicBezTo>
                      <a:lnTo>
                        <a:pt x="465745" y="930275"/>
                      </a:lnTo>
                      <a:cubicBezTo>
                        <a:pt x="581103" y="772583"/>
                        <a:pt x="567874" y="183621"/>
                        <a:pt x="557820" y="3175"/>
                      </a:cubicBezTo>
                      <a:close/>
                    </a:path>
                  </a:pathLst>
                </a:cu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" name="Rounded Rectangle 51"/>
                <p:cNvSpPr/>
                <p:nvPr/>
              </p:nvSpPr>
              <p:spPr>
                <a:xfrm>
                  <a:off x="9157704" y="3537266"/>
                  <a:ext cx="946824" cy="263525"/>
                </a:xfrm>
                <a:prstGeom prst="roundRect">
                  <a:avLst>
                    <a:gd name="adj" fmla="val 21666"/>
                  </a:avLst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2" name="Freeform 52"/>
                <p:cNvSpPr/>
                <p:nvPr/>
              </p:nvSpPr>
              <p:spPr>
                <a:xfrm>
                  <a:off x="7089322" y="2425771"/>
                  <a:ext cx="1793873" cy="629817"/>
                </a:xfrm>
                <a:custGeom>
                  <a:avLst/>
                  <a:gdLst>
                    <a:gd name="connsiteX0" fmla="*/ 1199486 w 1793873"/>
                    <a:gd name="connsiteY0" fmla="*/ 158945 h 629817"/>
                    <a:gd name="connsiteX1" fmla="*/ 1199486 w 1793873"/>
                    <a:gd name="connsiteY1" fmla="*/ 508195 h 629817"/>
                    <a:gd name="connsiteX2" fmla="*/ 1637636 w 1793873"/>
                    <a:gd name="connsiteY2" fmla="*/ 508195 h 629817"/>
                    <a:gd name="connsiteX3" fmla="*/ 1637636 w 1793873"/>
                    <a:gd name="connsiteY3" fmla="*/ 158945 h 629817"/>
                    <a:gd name="connsiteX4" fmla="*/ 151165 w 1793873"/>
                    <a:gd name="connsiteY4" fmla="*/ 158945 h 629817"/>
                    <a:gd name="connsiteX5" fmla="*/ 151165 w 1793873"/>
                    <a:gd name="connsiteY5" fmla="*/ 508195 h 629817"/>
                    <a:gd name="connsiteX6" fmla="*/ 589315 w 1793873"/>
                    <a:gd name="connsiteY6" fmla="*/ 508195 h 629817"/>
                    <a:gd name="connsiteX7" fmla="*/ 589315 w 1793873"/>
                    <a:gd name="connsiteY7" fmla="*/ 158945 h 629817"/>
                    <a:gd name="connsiteX8" fmla="*/ 170284 w 1793873"/>
                    <a:gd name="connsiteY8" fmla="*/ 0 h 629817"/>
                    <a:gd name="connsiteX9" fmla="*/ 571500 w 1793873"/>
                    <a:gd name="connsiteY9" fmla="*/ 0 h 629817"/>
                    <a:gd name="connsiteX10" fmla="*/ 580706 w 1793873"/>
                    <a:gd name="connsiteY10" fmla="*/ 1859 h 629817"/>
                    <a:gd name="connsiteX11" fmla="*/ 580706 w 1793873"/>
                    <a:gd name="connsiteY11" fmla="*/ 0 h 629817"/>
                    <a:gd name="connsiteX12" fmla="*/ 1222373 w 1793873"/>
                    <a:gd name="connsiteY12" fmla="*/ 0 h 629817"/>
                    <a:gd name="connsiteX13" fmla="*/ 1257524 w 1793873"/>
                    <a:gd name="connsiteY13" fmla="*/ 0 h 629817"/>
                    <a:gd name="connsiteX14" fmla="*/ 1623589 w 1793873"/>
                    <a:gd name="connsiteY14" fmla="*/ 0 h 629817"/>
                    <a:gd name="connsiteX15" fmla="*/ 1793873 w 1793873"/>
                    <a:gd name="connsiteY15" fmla="*/ 170284 h 629817"/>
                    <a:gd name="connsiteX16" fmla="*/ 1793873 w 1793873"/>
                    <a:gd name="connsiteY16" fmla="*/ 459533 h 629817"/>
                    <a:gd name="connsiteX17" fmla="*/ 1623589 w 1793873"/>
                    <a:gd name="connsiteY17" fmla="*/ 629817 h 629817"/>
                    <a:gd name="connsiteX18" fmla="*/ 1222373 w 1793873"/>
                    <a:gd name="connsiteY18" fmla="*/ 629817 h 629817"/>
                    <a:gd name="connsiteX19" fmla="*/ 1052089 w 1793873"/>
                    <a:gd name="connsiteY19" fmla="*/ 459533 h 629817"/>
                    <a:gd name="connsiteX20" fmla="*/ 1052089 w 1793873"/>
                    <a:gd name="connsiteY20" fmla="*/ 269867 h 629817"/>
                    <a:gd name="connsiteX21" fmla="*/ 1019448 w 1793873"/>
                    <a:gd name="connsiteY21" fmla="*/ 238597 h 629817"/>
                    <a:gd name="connsiteX22" fmla="*/ 772480 w 1793873"/>
                    <a:gd name="connsiteY22" fmla="*/ 239651 h 629817"/>
                    <a:gd name="connsiteX23" fmla="*/ 741784 w 1793873"/>
                    <a:gd name="connsiteY23" fmla="*/ 272720 h 629817"/>
                    <a:gd name="connsiteX24" fmla="*/ 741784 w 1793873"/>
                    <a:gd name="connsiteY24" fmla="*/ 459533 h 629817"/>
                    <a:gd name="connsiteX25" fmla="*/ 571500 w 1793873"/>
                    <a:gd name="connsiteY25" fmla="*/ 629817 h 629817"/>
                    <a:gd name="connsiteX26" fmla="*/ 170284 w 1793873"/>
                    <a:gd name="connsiteY26" fmla="*/ 629817 h 629817"/>
                    <a:gd name="connsiteX27" fmla="*/ 0 w 1793873"/>
                    <a:gd name="connsiteY27" fmla="*/ 459533 h 629817"/>
                    <a:gd name="connsiteX28" fmla="*/ 0 w 1793873"/>
                    <a:gd name="connsiteY28" fmla="*/ 170284 h 629817"/>
                    <a:gd name="connsiteX29" fmla="*/ 170284 w 1793873"/>
                    <a:gd name="connsiteY29" fmla="*/ 0 h 629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793873" h="629817">
                      <a:moveTo>
                        <a:pt x="1199486" y="158945"/>
                      </a:moveTo>
                      <a:lnTo>
                        <a:pt x="1199486" y="508195"/>
                      </a:lnTo>
                      <a:lnTo>
                        <a:pt x="1637636" y="508195"/>
                      </a:lnTo>
                      <a:lnTo>
                        <a:pt x="1637636" y="158945"/>
                      </a:lnTo>
                      <a:close/>
                      <a:moveTo>
                        <a:pt x="151165" y="158945"/>
                      </a:moveTo>
                      <a:lnTo>
                        <a:pt x="151165" y="508195"/>
                      </a:lnTo>
                      <a:lnTo>
                        <a:pt x="589315" y="508195"/>
                      </a:lnTo>
                      <a:lnTo>
                        <a:pt x="589315" y="158945"/>
                      </a:lnTo>
                      <a:close/>
                      <a:moveTo>
                        <a:pt x="170284" y="0"/>
                      </a:moveTo>
                      <a:lnTo>
                        <a:pt x="571500" y="0"/>
                      </a:lnTo>
                      <a:lnTo>
                        <a:pt x="580706" y="1859"/>
                      </a:lnTo>
                      <a:lnTo>
                        <a:pt x="580706" y="0"/>
                      </a:lnTo>
                      <a:lnTo>
                        <a:pt x="1222373" y="0"/>
                      </a:lnTo>
                      <a:lnTo>
                        <a:pt x="1257524" y="0"/>
                      </a:lnTo>
                      <a:lnTo>
                        <a:pt x="1623589" y="0"/>
                      </a:lnTo>
                      <a:cubicBezTo>
                        <a:pt x="1717634" y="0"/>
                        <a:pt x="1793873" y="76239"/>
                        <a:pt x="1793873" y="170284"/>
                      </a:cubicBezTo>
                      <a:lnTo>
                        <a:pt x="1793873" y="459533"/>
                      </a:lnTo>
                      <a:cubicBezTo>
                        <a:pt x="1793873" y="553578"/>
                        <a:pt x="1717634" y="629817"/>
                        <a:pt x="1623589" y="629817"/>
                      </a:cubicBezTo>
                      <a:lnTo>
                        <a:pt x="1222373" y="629817"/>
                      </a:lnTo>
                      <a:cubicBezTo>
                        <a:pt x="1128328" y="629817"/>
                        <a:pt x="1052089" y="553578"/>
                        <a:pt x="1052089" y="459533"/>
                      </a:cubicBezTo>
                      <a:lnTo>
                        <a:pt x="1052089" y="269867"/>
                      </a:lnTo>
                      <a:lnTo>
                        <a:pt x="1019448" y="238597"/>
                      </a:lnTo>
                      <a:cubicBezTo>
                        <a:pt x="940178" y="175104"/>
                        <a:pt x="842604" y="178661"/>
                        <a:pt x="772480" y="239651"/>
                      </a:cubicBezTo>
                      <a:lnTo>
                        <a:pt x="741784" y="272720"/>
                      </a:lnTo>
                      <a:lnTo>
                        <a:pt x="741784" y="459533"/>
                      </a:lnTo>
                      <a:cubicBezTo>
                        <a:pt x="741784" y="553578"/>
                        <a:pt x="665545" y="629817"/>
                        <a:pt x="571500" y="629817"/>
                      </a:cubicBezTo>
                      <a:lnTo>
                        <a:pt x="170284" y="629817"/>
                      </a:lnTo>
                      <a:cubicBezTo>
                        <a:pt x="76239" y="629817"/>
                        <a:pt x="0" y="553578"/>
                        <a:pt x="0" y="459533"/>
                      </a:cubicBezTo>
                      <a:lnTo>
                        <a:pt x="0" y="170284"/>
                      </a:lnTo>
                      <a:cubicBezTo>
                        <a:pt x="0" y="76239"/>
                        <a:pt x="76239" y="0"/>
                        <a:pt x="170284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1881">
                    <a:defRPr/>
                  </a:pPr>
                  <a:endParaRPr lang="en-IN" kern="0" dirty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1991014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asy deploymen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0536" y="2205037"/>
            <a:ext cx="4933950" cy="351472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236" y="2205037"/>
            <a:ext cx="4933950" cy="351472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1739555" y="1589465"/>
            <a:ext cx="2657312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Build the model firs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705763" y="1589465"/>
            <a:ext cx="4383496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accent2"/>
                </a:solidFill>
              </a:rPr>
              <a:t>Deploy as a web service instantly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1953" y="2291254"/>
            <a:ext cx="4681488" cy="332126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333" y="2291254"/>
            <a:ext cx="4734907" cy="3225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91919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icrosoft R Server</a:t>
            </a:r>
          </a:p>
          <a:p>
            <a:r>
              <a:rPr lang="en-US"/>
              <a:t>Machine learning with </a:t>
            </a:r>
            <a:r>
              <a:rPr lang="en-US">
                <a:solidFill>
                  <a:schemeClr val="accent3"/>
                </a:solidFill>
              </a:rPr>
              <a:t>MicrosoftML</a:t>
            </a:r>
          </a:p>
          <a:p>
            <a:r>
              <a:rPr lang="en-US"/>
              <a:t>SQL operationalization with </a:t>
            </a:r>
            <a:r>
              <a:rPr lang="en-US">
                <a:solidFill>
                  <a:schemeClr val="accent3"/>
                </a:solidFill>
              </a:rPr>
              <a:t>sqlrutils</a:t>
            </a:r>
          </a:p>
          <a:p>
            <a:r>
              <a:rPr lang="en-US"/>
              <a:t>Deployment with </a:t>
            </a:r>
            <a:r>
              <a:rPr lang="en-US">
                <a:solidFill>
                  <a:schemeClr val="accent3"/>
                </a:solidFill>
              </a:rPr>
              <a:t>mrsdeploy</a:t>
            </a:r>
            <a:endParaRPr lang="en-US"/>
          </a:p>
          <a:p>
            <a:r>
              <a:rPr lang="en-US">
                <a:solidFill>
                  <a:schemeClr val="accent3"/>
                </a:solidFill>
              </a:rPr>
              <a:t>Team data science process</a:t>
            </a:r>
          </a:p>
          <a:p>
            <a:r>
              <a:rPr lang="en-US"/>
              <a:t>Putting it all together: classifying galaxie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33956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hiny vs R Server deployment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1583883" y="1468074"/>
            <a:ext cx="4900807" cy="4900807"/>
          </a:xfrm>
          <a:prstGeom prst="ellipse">
            <a:avLst/>
          </a:prstGeom>
          <a:noFill/>
          <a:ln w="25400">
            <a:solidFill>
              <a:schemeClr val="accent4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/>
          <p:cNvSpPr/>
          <p:nvPr/>
        </p:nvSpPr>
        <p:spPr bwMode="auto">
          <a:xfrm>
            <a:off x="5519719" y="1468074"/>
            <a:ext cx="4900807" cy="4900807"/>
          </a:xfrm>
          <a:prstGeom prst="ellipse">
            <a:avLst/>
          </a:prstGeom>
          <a:noFill/>
          <a:ln w="2540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72410" y="1870745"/>
            <a:ext cx="2323751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hiny App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085081" y="1870745"/>
            <a:ext cx="2323751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 Server App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546638" y="2328816"/>
            <a:ext cx="3409546" cy="87100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haring analysis result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ia 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eractive web app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531408" y="2328816"/>
            <a:ext cx="3784665" cy="119725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egrating R with LOB app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ith any programming languag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82474" y="4513797"/>
            <a:ext cx="3636049" cy="16804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cenario:</a:t>
            </a:r>
          </a:p>
          <a:p>
            <a:pPr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egrate Lead Scoring in CRM system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3537999" y="3359351"/>
            <a:ext cx="1138238" cy="916536"/>
            <a:chOff x="1" y="770872"/>
            <a:chExt cx="1219200" cy="981728"/>
          </a:xfrm>
          <a:solidFill>
            <a:schemeClr val="accent2"/>
          </a:solidFill>
        </p:grpSpPr>
        <p:sp>
          <p:nvSpPr>
            <p:cNvPr id="11" name="TextBox 10"/>
            <p:cNvSpPr txBox="1"/>
            <p:nvPr/>
          </p:nvSpPr>
          <p:spPr>
            <a:xfrm>
              <a:off x="1" y="1404235"/>
              <a:ext cx="1219200" cy="3483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31881"/>
              <a:r>
                <a:rPr lang="en-US" sz="14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Data Scientist</a:t>
              </a:r>
            </a:p>
          </p:txBody>
        </p:sp>
        <p:grpSp>
          <p:nvGrpSpPr>
            <p:cNvPr id="12" name="Group 11"/>
            <p:cNvGrpSpPr>
              <a:grpSpLocks noChangeAspect="1"/>
            </p:cNvGrpSpPr>
            <p:nvPr/>
          </p:nvGrpSpPr>
          <p:grpSpPr>
            <a:xfrm>
              <a:off x="243002" y="770872"/>
              <a:ext cx="564718" cy="522569"/>
              <a:chOff x="5809310" y="1674658"/>
              <a:chExt cx="4585732" cy="4226967"/>
            </a:xfrm>
            <a:grpFill/>
          </p:grpSpPr>
          <p:sp>
            <p:nvSpPr>
              <p:cNvPr id="13" name="Oval 12"/>
              <p:cNvSpPr/>
              <p:nvPr/>
            </p:nvSpPr>
            <p:spPr>
              <a:xfrm>
                <a:off x="6881217" y="1674658"/>
                <a:ext cx="2210082" cy="2210082"/>
              </a:xfrm>
              <a:prstGeom prst="ellipse">
                <a:avLst/>
              </a:pr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881">
                  <a:defRPr/>
                </a:pPr>
                <a:endParaRPr lang="en-IN" kern="0" dirty="0">
                  <a:solidFill>
                    <a:prstClr val="white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4" name="Freeform 84"/>
              <p:cNvSpPr/>
              <p:nvPr/>
            </p:nvSpPr>
            <p:spPr>
              <a:xfrm>
                <a:off x="5809310" y="3984172"/>
                <a:ext cx="3316029" cy="1917453"/>
              </a:xfrm>
              <a:custGeom>
                <a:avLst/>
                <a:gdLst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827176 w 3331029"/>
                  <a:gd name="connsiteY13" fmla="*/ 279918 h 1912775"/>
                  <a:gd name="connsiteX14" fmla="*/ 2528596 w 3331029"/>
                  <a:gd name="connsiteY14" fmla="*/ 1212980 h 1912775"/>
                  <a:gd name="connsiteX15" fmla="*/ 2258008 w 3331029"/>
                  <a:gd name="connsiteY15" fmla="*/ 1716833 h 1912775"/>
                  <a:gd name="connsiteX16" fmla="*/ 2164702 w 3331029"/>
                  <a:gd name="connsiteY16" fmla="*/ 1782147 h 1912775"/>
                  <a:gd name="connsiteX17" fmla="*/ 1968760 w 3331029"/>
                  <a:gd name="connsiteY17" fmla="*/ 1446245 h 1912775"/>
                  <a:gd name="connsiteX18" fmla="*/ 1688841 w 3331029"/>
                  <a:gd name="connsiteY18" fmla="*/ 886408 h 1912775"/>
                  <a:gd name="connsiteX19" fmla="*/ 1558213 w 3331029"/>
                  <a:gd name="connsiteY19" fmla="*/ 457200 h 1912775"/>
                  <a:gd name="connsiteX20" fmla="*/ 1418253 w 3331029"/>
                  <a:gd name="connsiteY20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827176 w 3331029"/>
                  <a:gd name="connsiteY13" fmla="*/ 279918 h 1912775"/>
                  <a:gd name="connsiteX14" fmla="*/ 2528596 w 3331029"/>
                  <a:gd name="connsiteY14" fmla="*/ 1212980 h 1912775"/>
                  <a:gd name="connsiteX15" fmla="*/ 2164702 w 3331029"/>
                  <a:gd name="connsiteY15" fmla="*/ 1782147 h 1912775"/>
                  <a:gd name="connsiteX16" fmla="*/ 1968760 w 3331029"/>
                  <a:gd name="connsiteY16" fmla="*/ 1446245 h 1912775"/>
                  <a:gd name="connsiteX17" fmla="*/ 1688841 w 3331029"/>
                  <a:gd name="connsiteY17" fmla="*/ 886408 h 1912775"/>
                  <a:gd name="connsiteX18" fmla="*/ 1558213 w 3331029"/>
                  <a:gd name="connsiteY18" fmla="*/ 457200 h 1912775"/>
                  <a:gd name="connsiteX19" fmla="*/ 1418253 w 3331029"/>
                  <a:gd name="connsiteY19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827176 w 3331029"/>
                  <a:gd name="connsiteY13" fmla="*/ 279918 h 1912775"/>
                  <a:gd name="connsiteX14" fmla="*/ 2164702 w 3331029"/>
                  <a:gd name="connsiteY14" fmla="*/ 1782147 h 1912775"/>
                  <a:gd name="connsiteX15" fmla="*/ 1968760 w 3331029"/>
                  <a:gd name="connsiteY15" fmla="*/ 1446245 h 1912775"/>
                  <a:gd name="connsiteX16" fmla="*/ 1688841 w 3331029"/>
                  <a:gd name="connsiteY16" fmla="*/ 886408 h 1912775"/>
                  <a:gd name="connsiteX17" fmla="*/ 1558213 w 3331029"/>
                  <a:gd name="connsiteY17" fmla="*/ 457200 h 1912775"/>
                  <a:gd name="connsiteX18" fmla="*/ 1418253 w 3331029"/>
                  <a:gd name="connsiteY18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968760 w 3331029"/>
                  <a:gd name="connsiteY14" fmla="*/ 1446245 h 1912775"/>
                  <a:gd name="connsiteX15" fmla="*/ 1688841 w 3331029"/>
                  <a:gd name="connsiteY15" fmla="*/ 886408 h 1912775"/>
                  <a:gd name="connsiteX16" fmla="*/ 1558213 w 3331029"/>
                  <a:gd name="connsiteY16" fmla="*/ 457200 h 1912775"/>
                  <a:gd name="connsiteX17" fmla="*/ 1418253 w 3331029"/>
                  <a:gd name="connsiteY17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968760 w 3331029"/>
                  <a:gd name="connsiteY14" fmla="*/ 1446245 h 1912775"/>
                  <a:gd name="connsiteX15" fmla="*/ 1688841 w 3331029"/>
                  <a:gd name="connsiteY15" fmla="*/ 886408 h 1912775"/>
                  <a:gd name="connsiteX16" fmla="*/ 1418253 w 3331029"/>
                  <a:gd name="connsiteY16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968760 w 3331029"/>
                  <a:gd name="connsiteY14" fmla="*/ 1446245 h 1912775"/>
                  <a:gd name="connsiteX15" fmla="*/ 1418253 w 3331029"/>
                  <a:gd name="connsiteY15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18253 w 3331029"/>
                  <a:gd name="connsiteY0" fmla="*/ 9331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18253 w 3331029"/>
                  <a:gd name="connsiteY14" fmla="*/ 9331 h 1912775"/>
                  <a:gd name="connsiteX0" fmla="*/ 1436914 w 3331029"/>
                  <a:gd name="connsiteY0" fmla="*/ 0 h 1912775"/>
                  <a:gd name="connsiteX1" fmla="*/ 475862 w 3331029"/>
                  <a:gd name="connsiteY1" fmla="*/ 419877 h 1912775"/>
                  <a:gd name="connsiteX2" fmla="*/ 223935 w 3331029"/>
                  <a:gd name="connsiteY2" fmla="*/ 699796 h 1912775"/>
                  <a:gd name="connsiteX3" fmla="*/ 130629 w 3331029"/>
                  <a:gd name="connsiteY3" fmla="*/ 989045 h 1912775"/>
                  <a:gd name="connsiteX4" fmla="*/ 0 w 3331029"/>
                  <a:gd name="connsiteY4" fmla="*/ 1614196 h 1912775"/>
                  <a:gd name="connsiteX5" fmla="*/ 746449 w 3331029"/>
                  <a:gd name="connsiteY5" fmla="*/ 1828800 h 1912775"/>
                  <a:gd name="connsiteX6" fmla="*/ 1735494 w 3331029"/>
                  <a:gd name="connsiteY6" fmla="*/ 1912775 h 1912775"/>
                  <a:gd name="connsiteX7" fmla="*/ 2948474 w 3331029"/>
                  <a:gd name="connsiteY7" fmla="*/ 1884784 h 1912775"/>
                  <a:gd name="connsiteX8" fmla="*/ 2901821 w 3331029"/>
                  <a:gd name="connsiteY8" fmla="*/ 1772816 h 1912775"/>
                  <a:gd name="connsiteX9" fmla="*/ 3247053 w 3331029"/>
                  <a:gd name="connsiteY9" fmla="*/ 783771 h 1912775"/>
                  <a:gd name="connsiteX10" fmla="*/ 3331029 w 3331029"/>
                  <a:gd name="connsiteY10" fmla="*/ 513184 h 1912775"/>
                  <a:gd name="connsiteX11" fmla="*/ 3331029 w 3331029"/>
                  <a:gd name="connsiteY11" fmla="*/ 158620 h 1912775"/>
                  <a:gd name="connsiteX12" fmla="*/ 2911151 w 3331029"/>
                  <a:gd name="connsiteY12" fmla="*/ 0 h 1912775"/>
                  <a:gd name="connsiteX13" fmla="*/ 2164702 w 3331029"/>
                  <a:gd name="connsiteY13" fmla="*/ 1782147 h 1912775"/>
                  <a:gd name="connsiteX14" fmla="*/ 1436914 w 3331029"/>
                  <a:gd name="connsiteY14" fmla="*/ 0 h 1912775"/>
                  <a:gd name="connsiteX0" fmla="*/ 1436914 w 3331029"/>
                  <a:gd name="connsiteY0" fmla="*/ 0 h 1912775"/>
                  <a:gd name="connsiteX1" fmla="*/ 223935 w 3331029"/>
                  <a:gd name="connsiteY1" fmla="*/ 699796 h 1912775"/>
                  <a:gd name="connsiteX2" fmla="*/ 130629 w 3331029"/>
                  <a:gd name="connsiteY2" fmla="*/ 989045 h 1912775"/>
                  <a:gd name="connsiteX3" fmla="*/ 0 w 3331029"/>
                  <a:gd name="connsiteY3" fmla="*/ 1614196 h 1912775"/>
                  <a:gd name="connsiteX4" fmla="*/ 746449 w 3331029"/>
                  <a:gd name="connsiteY4" fmla="*/ 1828800 h 1912775"/>
                  <a:gd name="connsiteX5" fmla="*/ 1735494 w 3331029"/>
                  <a:gd name="connsiteY5" fmla="*/ 1912775 h 1912775"/>
                  <a:gd name="connsiteX6" fmla="*/ 2948474 w 3331029"/>
                  <a:gd name="connsiteY6" fmla="*/ 1884784 h 1912775"/>
                  <a:gd name="connsiteX7" fmla="*/ 2901821 w 3331029"/>
                  <a:gd name="connsiteY7" fmla="*/ 1772816 h 1912775"/>
                  <a:gd name="connsiteX8" fmla="*/ 3247053 w 3331029"/>
                  <a:gd name="connsiteY8" fmla="*/ 783771 h 1912775"/>
                  <a:gd name="connsiteX9" fmla="*/ 3331029 w 3331029"/>
                  <a:gd name="connsiteY9" fmla="*/ 513184 h 1912775"/>
                  <a:gd name="connsiteX10" fmla="*/ 3331029 w 3331029"/>
                  <a:gd name="connsiteY10" fmla="*/ 158620 h 1912775"/>
                  <a:gd name="connsiteX11" fmla="*/ 2911151 w 3331029"/>
                  <a:gd name="connsiteY11" fmla="*/ 0 h 1912775"/>
                  <a:gd name="connsiteX12" fmla="*/ 2164702 w 3331029"/>
                  <a:gd name="connsiteY12" fmla="*/ 1782147 h 1912775"/>
                  <a:gd name="connsiteX13" fmla="*/ 1436914 w 3331029"/>
                  <a:gd name="connsiteY13" fmla="*/ 0 h 1912775"/>
                  <a:gd name="connsiteX0" fmla="*/ 1436914 w 3331029"/>
                  <a:gd name="connsiteY0" fmla="*/ 0 h 1912775"/>
                  <a:gd name="connsiteX1" fmla="*/ 130629 w 3331029"/>
                  <a:gd name="connsiteY1" fmla="*/ 989045 h 1912775"/>
                  <a:gd name="connsiteX2" fmla="*/ 0 w 3331029"/>
                  <a:gd name="connsiteY2" fmla="*/ 1614196 h 1912775"/>
                  <a:gd name="connsiteX3" fmla="*/ 746449 w 3331029"/>
                  <a:gd name="connsiteY3" fmla="*/ 1828800 h 1912775"/>
                  <a:gd name="connsiteX4" fmla="*/ 1735494 w 3331029"/>
                  <a:gd name="connsiteY4" fmla="*/ 1912775 h 1912775"/>
                  <a:gd name="connsiteX5" fmla="*/ 2948474 w 3331029"/>
                  <a:gd name="connsiteY5" fmla="*/ 1884784 h 1912775"/>
                  <a:gd name="connsiteX6" fmla="*/ 2901821 w 3331029"/>
                  <a:gd name="connsiteY6" fmla="*/ 1772816 h 1912775"/>
                  <a:gd name="connsiteX7" fmla="*/ 3247053 w 3331029"/>
                  <a:gd name="connsiteY7" fmla="*/ 783771 h 1912775"/>
                  <a:gd name="connsiteX8" fmla="*/ 3331029 w 3331029"/>
                  <a:gd name="connsiteY8" fmla="*/ 513184 h 1912775"/>
                  <a:gd name="connsiteX9" fmla="*/ 3331029 w 3331029"/>
                  <a:gd name="connsiteY9" fmla="*/ 158620 h 1912775"/>
                  <a:gd name="connsiteX10" fmla="*/ 2911151 w 3331029"/>
                  <a:gd name="connsiteY10" fmla="*/ 0 h 1912775"/>
                  <a:gd name="connsiteX11" fmla="*/ 2164702 w 3331029"/>
                  <a:gd name="connsiteY11" fmla="*/ 1782147 h 1912775"/>
                  <a:gd name="connsiteX12" fmla="*/ 1436914 w 3331029"/>
                  <a:gd name="connsiteY12" fmla="*/ 0 h 1912775"/>
                  <a:gd name="connsiteX0" fmla="*/ 1436914 w 3331029"/>
                  <a:gd name="connsiteY0" fmla="*/ 0 h 1912775"/>
                  <a:gd name="connsiteX1" fmla="*/ 0 w 3331029"/>
                  <a:gd name="connsiteY1" fmla="*/ 1614196 h 1912775"/>
                  <a:gd name="connsiteX2" fmla="*/ 746449 w 3331029"/>
                  <a:gd name="connsiteY2" fmla="*/ 1828800 h 1912775"/>
                  <a:gd name="connsiteX3" fmla="*/ 1735494 w 3331029"/>
                  <a:gd name="connsiteY3" fmla="*/ 1912775 h 1912775"/>
                  <a:gd name="connsiteX4" fmla="*/ 2948474 w 3331029"/>
                  <a:gd name="connsiteY4" fmla="*/ 1884784 h 1912775"/>
                  <a:gd name="connsiteX5" fmla="*/ 2901821 w 3331029"/>
                  <a:gd name="connsiteY5" fmla="*/ 1772816 h 1912775"/>
                  <a:gd name="connsiteX6" fmla="*/ 3247053 w 3331029"/>
                  <a:gd name="connsiteY6" fmla="*/ 783771 h 1912775"/>
                  <a:gd name="connsiteX7" fmla="*/ 3331029 w 3331029"/>
                  <a:gd name="connsiteY7" fmla="*/ 513184 h 1912775"/>
                  <a:gd name="connsiteX8" fmla="*/ 3331029 w 3331029"/>
                  <a:gd name="connsiteY8" fmla="*/ 158620 h 1912775"/>
                  <a:gd name="connsiteX9" fmla="*/ 2911151 w 3331029"/>
                  <a:gd name="connsiteY9" fmla="*/ 0 h 1912775"/>
                  <a:gd name="connsiteX10" fmla="*/ 2164702 w 3331029"/>
                  <a:gd name="connsiteY10" fmla="*/ 1782147 h 1912775"/>
                  <a:gd name="connsiteX11" fmla="*/ 1436914 w 3331029"/>
                  <a:gd name="connsiteY11" fmla="*/ 0 h 1912775"/>
                  <a:gd name="connsiteX0" fmla="*/ 1436914 w 3331029"/>
                  <a:gd name="connsiteY0" fmla="*/ 0 h 1912775"/>
                  <a:gd name="connsiteX1" fmla="*/ 0 w 3331029"/>
                  <a:gd name="connsiteY1" fmla="*/ 1614196 h 1912775"/>
                  <a:gd name="connsiteX2" fmla="*/ 746449 w 3331029"/>
                  <a:gd name="connsiteY2" fmla="*/ 1828800 h 1912775"/>
                  <a:gd name="connsiteX3" fmla="*/ 1735494 w 3331029"/>
                  <a:gd name="connsiteY3" fmla="*/ 1912775 h 1912775"/>
                  <a:gd name="connsiteX4" fmla="*/ 2948474 w 3331029"/>
                  <a:gd name="connsiteY4" fmla="*/ 1884784 h 1912775"/>
                  <a:gd name="connsiteX5" fmla="*/ 2901821 w 3331029"/>
                  <a:gd name="connsiteY5" fmla="*/ 1772816 h 1912775"/>
                  <a:gd name="connsiteX6" fmla="*/ 3247053 w 3331029"/>
                  <a:gd name="connsiteY6" fmla="*/ 783771 h 1912775"/>
                  <a:gd name="connsiteX7" fmla="*/ 3331029 w 3331029"/>
                  <a:gd name="connsiteY7" fmla="*/ 513184 h 1912775"/>
                  <a:gd name="connsiteX8" fmla="*/ 3331029 w 3331029"/>
                  <a:gd name="connsiteY8" fmla="*/ 158620 h 1912775"/>
                  <a:gd name="connsiteX9" fmla="*/ 2911151 w 3331029"/>
                  <a:gd name="connsiteY9" fmla="*/ 0 h 1912775"/>
                  <a:gd name="connsiteX10" fmla="*/ 2164702 w 3331029"/>
                  <a:gd name="connsiteY10" fmla="*/ 1782147 h 1912775"/>
                  <a:gd name="connsiteX11" fmla="*/ 1436914 w 3331029"/>
                  <a:gd name="connsiteY11" fmla="*/ 0 h 1912775"/>
                  <a:gd name="connsiteX0" fmla="*/ 1436914 w 3331029"/>
                  <a:gd name="connsiteY0" fmla="*/ 0 h 1912775"/>
                  <a:gd name="connsiteX1" fmla="*/ 0 w 3331029"/>
                  <a:gd name="connsiteY1" fmla="*/ 1614196 h 1912775"/>
                  <a:gd name="connsiteX2" fmla="*/ 746449 w 3331029"/>
                  <a:gd name="connsiteY2" fmla="*/ 1828800 h 1912775"/>
                  <a:gd name="connsiteX3" fmla="*/ 1735494 w 3331029"/>
                  <a:gd name="connsiteY3" fmla="*/ 1912775 h 1912775"/>
                  <a:gd name="connsiteX4" fmla="*/ 2948474 w 3331029"/>
                  <a:gd name="connsiteY4" fmla="*/ 1884784 h 1912775"/>
                  <a:gd name="connsiteX5" fmla="*/ 2901821 w 3331029"/>
                  <a:gd name="connsiteY5" fmla="*/ 1772816 h 1912775"/>
                  <a:gd name="connsiteX6" fmla="*/ 3247053 w 3331029"/>
                  <a:gd name="connsiteY6" fmla="*/ 783771 h 1912775"/>
                  <a:gd name="connsiteX7" fmla="*/ 3331029 w 3331029"/>
                  <a:gd name="connsiteY7" fmla="*/ 513184 h 1912775"/>
                  <a:gd name="connsiteX8" fmla="*/ 3331029 w 3331029"/>
                  <a:gd name="connsiteY8" fmla="*/ 158620 h 1912775"/>
                  <a:gd name="connsiteX9" fmla="*/ 2911151 w 3331029"/>
                  <a:gd name="connsiteY9" fmla="*/ 0 h 1912775"/>
                  <a:gd name="connsiteX10" fmla="*/ 2164702 w 3331029"/>
                  <a:gd name="connsiteY10" fmla="*/ 1782147 h 1912775"/>
                  <a:gd name="connsiteX11" fmla="*/ 1436914 w 3331029"/>
                  <a:gd name="connsiteY11" fmla="*/ 0 h 1912775"/>
                  <a:gd name="connsiteX0" fmla="*/ 1436914 w 3331029"/>
                  <a:gd name="connsiteY0" fmla="*/ 0 h 1912775"/>
                  <a:gd name="connsiteX1" fmla="*/ 0 w 3331029"/>
                  <a:gd name="connsiteY1" fmla="*/ 1614196 h 1912775"/>
                  <a:gd name="connsiteX2" fmla="*/ 746449 w 3331029"/>
                  <a:gd name="connsiteY2" fmla="*/ 1828800 h 1912775"/>
                  <a:gd name="connsiteX3" fmla="*/ 1735494 w 3331029"/>
                  <a:gd name="connsiteY3" fmla="*/ 1912775 h 1912775"/>
                  <a:gd name="connsiteX4" fmla="*/ 2948474 w 3331029"/>
                  <a:gd name="connsiteY4" fmla="*/ 1884784 h 1912775"/>
                  <a:gd name="connsiteX5" fmla="*/ 2901821 w 3331029"/>
                  <a:gd name="connsiteY5" fmla="*/ 1772816 h 1912775"/>
                  <a:gd name="connsiteX6" fmla="*/ 3247053 w 3331029"/>
                  <a:gd name="connsiteY6" fmla="*/ 783771 h 1912775"/>
                  <a:gd name="connsiteX7" fmla="*/ 3331029 w 3331029"/>
                  <a:gd name="connsiteY7" fmla="*/ 513184 h 1912775"/>
                  <a:gd name="connsiteX8" fmla="*/ 3331029 w 3331029"/>
                  <a:gd name="connsiteY8" fmla="*/ 158620 h 1912775"/>
                  <a:gd name="connsiteX9" fmla="*/ 2911151 w 3331029"/>
                  <a:gd name="connsiteY9" fmla="*/ 0 h 1912775"/>
                  <a:gd name="connsiteX10" fmla="*/ 2164702 w 3331029"/>
                  <a:gd name="connsiteY10" fmla="*/ 1782147 h 1912775"/>
                  <a:gd name="connsiteX11" fmla="*/ 1436914 w 3331029"/>
                  <a:gd name="connsiteY11" fmla="*/ 0 h 1912775"/>
                  <a:gd name="connsiteX0" fmla="*/ 1436914 w 3331029"/>
                  <a:gd name="connsiteY0" fmla="*/ 0 h 1912775"/>
                  <a:gd name="connsiteX1" fmla="*/ 0 w 3331029"/>
                  <a:gd name="connsiteY1" fmla="*/ 1614196 h 1912775"/>
                  <a:gd name="connsiteX2" fmla="*/ 1735494 w 3331029"/>
                  <a:gd name="connsiteY2" fmla="*/ 1912775 h 1912775"/>
                  <a:gd name="connsiteX3" fmla="*/ 2948474 w 3331029"/>
                  <a:gd name="connsiteY3" fmla="*/ 1884784 h 1912775"/>
                  <a:gd name="connsiteX4" fmla="*/ 2901821 w 3331029"/>
                  <a:gd name="connsiteY4" fmla="*/ 1772816 h 1912775"/>
                  <a:gd name="connsiteX5" fmla="*/ 3247053 w 3331029"/>
                  <a:gd name="connsiteY5" fmla="*/ 783771 h 1912775"/>
                  <a:gd name="connsiteX6" fmla="*/ 3331029 w 3331029"/>
                  <a:gd name="connsiteY6" fmla="*/ 513184 h 1912775"/>
                  <a:gd name="connsiteX7" fmla="*/ 3331029 w 3331029"/>
                  <a:gd name="connsiteY7" fmla="*/ 158620 h 1912775"/>
                  <a:gd name="connsiteX8" fmla="*/ 2911151 w 3331029"/>
                  <a:gd name="connsiteY8" fmla="*/ 0 h 1912775"/>
                  <a:gd name="connsiteX9" fmla="*/ 2164702 w 3331029"/>
                  <a:gd name="connsiteY9" fmla="*/ 1782147 h 1912775"/>
                  <a:gd name="connsiteX10" fmla="*/ 1436914 w 3331029"/>
                  <a:gd name="connsiteY10" fmla="*/ 0 h 1912775"/>
                  <a:gd name="connsiteX0" fmla="*/ 1436914 w 3331029"/>
                  <a:gd name="connsiteY0" fmla="*/ 0 h 1884784"/>
                  <a:gd name="connsiteX1" fmla="*/ 0 w 3331029"/>
                  <a:gd name="connsiteY1" fmla="*/ 1614196 h 1884784"/>
                  <a:gd name="connsiteX2" fmla="*/ 2948474 w 3331029"/>
                  <a:gd name="connsiteY2" fmla="*/ 1884784 h 1884784"/>
                  <a:gd name="connsiteX3" fmla="*/ 2901821 w 3331029"/>
                  <a:gd name="connsiteY3" fmla="*/ 1772816 h 1884784"/>
                  <a:gd name="connsiteX4" fmla="*/ 3247053 w 3331029"/>
                  <a:gd name="connsiteY4" fmla="*/ 783771 h 1884784"/>
                  <a:gd name="connsiteX5" fmla="*/ 3331029 w 3331029"/>
                  <a:gd name="connsiteY5" fmla="*/ 513184 h 1884784"/>
                  <a:gd name="connsiteX6" fmla="*/ 3331029 w 3331029"/>
                  <a:gd name="connsiteY6" fmla="*/ 158620 h 1884784"/>
                  <a:gd name="connsiteX7" fmla="*/ 2911151 w 3331029"/>
                  <a:gd name="connsiteY7" fmla="*/ 0 h 1884784"/>
                  <a:gd name="connsiteX8" fmla="*/ 2164702 w 3331029"/>
                  <a:gd name="connsiteY8" fmla="*/ 1782147 h 1884784"/>
                  <a:gd name="connsiteX9" fmla="*/ 1436914 w 3331029"/>
                  <a:gd name="connsiteY9" fmla="*/ 0 h 1884784"/>
                  <a:gd name="connsiteX0" fmla="*/ 1436914 w 3331029"/>
                  <a:gd name="connsiteY0" fmla="*/ 0 h 1884784"/>
                  <a:gd name="connsiteX1" fmla="*/ 0 w 3331029"/>
                  <a:gd name="connsiteY1" fmla="*/ 1614196 h 1884784"/>
                  <a:gd name="connsiteX2" fmla="*/ 2948474 w 3331029"/>
                  <a:gd name="connsiteY2" fmla="*/ 1884784 h 1884784"/>
                  <a:gd name="connsiteX3" fmla="*/ 2901821 w 3331029"/>
                  <a:gd name="connsiteY3" fmla="*/ 1772816 h 1884784"/>
                  <a:gd name="connsiteX4" fmla="*/ 3247053 w 3331029"/>
                  <a:gd name="connsiteY4" fmla="*/ 783771 h 1884784"/>
                  <a:gd name="connsiteX5" fmla="*/ 3331029 w 3331029"/>
                  <a:gd name="connsiteY5" fmla="*/ 513184 h 1884784"/>
                  <a:gd name="connsiteX6" fmla="*/ 3331029 w 3331029"/>
                  <a:gd name="connsiteY6" fmla="*/ 158620 h 1884784"/>
                  <a:gd name="connsiteX7" fmla="*/ 2911151 w 3331029"/>
                  <a:gd name="connsiteY7" fmla="*/ 0 h 1884784"/>
                  <a:gd name="connsiteX8" fmla="*/ 2164702 w 3331029"/>
                  <a:gd name="connsiteY8" fmla="*/ 1782147 h 1884784"/>
                  <a:gd name="connsiteX9" fmla="*/ 1436914 w 3331029"/>
                  <a:gd name="connsiteY9" fmla="*/ 0 h 1884784"/>
                  <a:gd name="connsiteX0" fmla="*/ 1436914 w 3331029"/>
                  <a:gd name="connsiteY0" fmla="*/ 0 h 1915295"/>
                  <a:gd name="connsiteX1" fmla="*/ 0 w 3331029"/>
                  <a:gd name="connsiteY1" fmla="*/ 1614196 h 1915295"/>
                  <a:gd name="connsiteX2" fmla="*/ 2948474 w 3331029"/>
                  <a:gd name="connsiteY2" fmla="*/ 1884784 h 1915295"/>
                  <a:gd name="connsiteX3" fmla="*/ 2901821 w 3331029"/>
                  <a:gd name="connsiteY3" fmla="*/ 1772816 h 1915295"/>
                  <a:gd name="connsiteX4" fmla="*/ 3247053 w 3331029"/>
                  <a:gd name="connsiteY4" fmla="*/ 783771 h 1915295"/>
                  <a:gd name="connsiteX5" fmla="*/ 3331029 w 3331029"/>
                  <a:gd name="connsiteY5" fmla="*/ 513184 h 1915295"/>
                  <a:gd name="connsiteX6" fmla="*/ 3331029 w 3331029"/>
                  <a:gd name="connsiteY6" fmla="*/ 158620 h 1915295"/>
                  <a:gd name="connsiteX7" fmla="*/ 2911151 w 3331029"/>
                  <a:gd name="connsiteY7" fmla="*/ 0 h 1915295"/>
                  <a:gd name="connsiteX8" fmla="*/ 2164702 w 3331029"/>
                  <a:gd name="connsiteY8" fmla="*/ 1782147 h 1915295"/>
                  <a:gd name="connsiteX9" fmla="*/ 1436914 w 3331029"/>
                  <a:gd name="connsiteY9" fmla="*/ 0 h 1915295"/>
                  <a:gd name="connsiteX0" fmla="*/ 1436914 w 3331029"/>
                  <a:gd name="connsiteY0" fmla="*/ 0 h 1915295"/>
                  <a:gd name="connsiteX1" fmla="*/ 0 w 3331029"/>
                  <a:gd name="connsiteY1" fmla="*/ 1614196 h 1915295"/>
                  <a:gd name="connsiteX2" fmla="*/ 2948474 w 3331029"/>
                  <a:gd name="connsiteY2" fmla="*/ 1884784 h 1915295"/>
                  <a:gd name="connsiteX3" fmla="*/ 2901821 w 3331029"/>
                  <a:gd name="connsiteY3" fmla="*/ 1772816 h 1915295"/>
                  <a:gd name="connsiteX4" fmla="*/ 3331029 w 3331029"/>
                  <a:gd name="connsiteY4" fmla="*/ 513184 h 1915295"/>
                  <a:gd name="connsiteX5" fmla="*/ 3331029 w 3331029"/>
                  <a:gd name="connsiteY5" fmla="*/ 158620 h 1915295"/>
                  <a:gd name="connsiteX6" fmla="*/ 2911151 w 3331029"/>
                  <a:gd name="connsiteY6" fmla="*/ 0 h 1915295"/>
                  <a:gd name="connsiteX7" fmla="*/ 2164702 w 3331029"/>
                  <a:gd name="connsiteY7" fmla="*/ 1782147 h 1915295"/>
                  <a:gd name="connsiteX8" fmla="*/ 1436914 w 3331029"/>
                  <a:gd name="connsiteY8" fmla="*/ 0 h 1915295"/>
                  <a:gd name="connsiteX0" fmla="*/ 1436914 w 3331029"/>
                  <a:gd name="connsiteY0" fmla="*/ 0 h 1915295"/>
                  <a:gd name="connsiteX1" fmla="*/ 0 w 3331029"/>
                  <a:gd name="connsiteY1" fmla="*/ 1614196 h 1915295"/>
                  <a:gd name="connsiteX2" fmla="*/ 2948474 w 3331029"/>
                  <a:gd name="connsiteY2" fmla="*/ 1884784 h 1915295"/>
                  <a:gd name="connsiteX3" fmla="*/ 2901821 w 3331029"/>
                  <a:gd name="connsiteY3" fmla="*/ 1772816 h 1915295"/>
                  <a:gd name="connsiteX4" fmla="*/ 3331029 w 3331029"/>
                  <a:gd name="connsiteY4" fmla="*/ 513184 h 1915295"/>
                  <a:gd name="connsiteX5" fmla="*/ 3331029 w 3331029"/>
                  <a:gd name="connsiteY5" fmla="*/ 158620 h 1915295"/>
                  <a:gd name="connsiteX6" fmla="*/ 2911151 w 3331029"/>
                  <a:gd name="connsiteY6" fmla="*/ 0 h 1915295"/>
                  <a:gd name="connsiteX7" fmla="*/ 2164702 w 3331029"/>
                  <a:gd name="connsiteY7" fmla="*/ 1782147 h 1915295"/>
                  <a:gd name="connsiteX8" fmla="*/ 1436914 w 3331029"/>
                  <a:gd name="connsiteY8" fmla="*/ 0 h 1915295"/>
                  <a:gd name="connsiteX0" fmla="*/ 1414689 w 3308804"/>
                  <a:gd name="connsiteY0" fmla="*/ 0 h 1917453"/>
                  <a:gd name="connsiteX1" fmla="*/ 0 w 3308804"/>
                  <a:gd name="connsiteY1" fmla="*/ 1623721 h 1917453"/>
                  <a:gd name="connsiteX2" fmla="*/ 2926249 w 3308804"/>
                  <a:gd name="connsiteY2" fmla="*/ 1884784 h 1917453"/>
                  <a:gd name="connsiteX3" fmla="*/ 2879596 w 3308804"/>
                  <a:gd name="connsiteY3" fmla="*/ 1772816 h 1917453"/>
                  <a:gd name="connsiteX4" fmla="*/ 3308804 w 3308804"/>
                  <a:gd name="connsiteY4" fmla="*/ 513184 h 1917453"/>
                  <a:gd name="connsiteX5" fmla="*/ 3308804 w 3308804"/>
                  <a:gd name="connsiteY5" fmla="*/ 158620 h 1917453"/>
                  <a:gd name="connsiteX6" fmla="*/ 2888926 w 3308804"/>
                  <a:gd name="connsiteY6" fmla="*/ 0 h 1917453"/>
                  <a:gd name="connsiteX7" fmla="*/ 2142477 w 3308804"/>
                  <a:gd name="connsiteY7" fmla="*/ 1782147 h 1917453"/>
                  <a:gd name="connsiteX8" fmla="*/ 1414689 w 3308804"/>
                  <a:gd name="connsiteY8" fmla="*/ 0 h 1917453"/>
                  <a:gd name="connsiteX0" fmla="*/ 1417845 w 3311960"/>
                  <a:gd name="connsiteY0" fmla="*/ 0 h 1917453"/>
                  <a:gd name="connsiteX1" fmla="*/ 3156 w 3311960"/>
                  <a:gd name="connsiteY1" fmla="*/ 1623721 h 1917453"/>
                  <a:gd name="connsiteX2" fmla="*/ 2929405 w 3311960"/>
                  <a:gd name="connsiteY2" fmla="*/ 1884784 h 1917453"/>
                  <a:gd name="connsiteX3" fmla="*/ 2882752 w 3311960"/>
                  <a:gd name="connsiteY3" fmla="*/ 1772816 h 1917453"/>
                  <a:gd name="connsiteX4" fmla="*/ 3311960 w 3311960"/>
                  <a:gd name="connsiteY4" fmla="*/ 513184 h 1917453"/>
                  <a:gd name="connsiteX5" fmla="*/ 3311960 w 3311960"/>
                  <a:gd name="connsiteY5" fmla="*/ 158620 h 1917453"/>
                  <a:gd name="connsiteX6" fmla="*/ 2892082 w 3311960"/>
                  <a:gd name="connsiteY6" fmla="*/ 0 h 1917453"/>
                  <a:gd name="connsiteX7" fmla="*/ 2145633 w 3311960"/>
                  <a:gd name="connsiteY7" fmla="*/ 1782147 h 1917453"/>
                  <a:gd name="connsiteX8" fmla="*/ 1417845 w 3311960"/>
                  <a:gd name="connsiteY8" fmla="*/ 0 h 1917453"/>
                  <a:gd name="connsiteX0" fmla="*/ 1421914 w 3316029"/>
                  <a:gd name="connsiteY0" fmla="*/ 0 h 1917453"/>
                  <a:gd name="connsiteX1" fmla="*/ 7225 w 3316029"/>
                  <a:gd name="connsiteY1" fmla="*/ 1623721 h 1917453"/>
                  <a:gd name="connsiteX2" fmla="*/ 2933474 w 3316029"/>
                  <a:gd name="connsiteY2" fmla="*/ 1884784 h 1917453"/>
                  <a:gd name="connsiteX3" fmla="*/ 2886821 w 3316029"/>
                  <a:gd name="connsiteY3" fmla="*/ 1772816 h 1917453"/>
                  <a:gd name="connsiteX4" fmla="*/ 3316029 w 3316029"/>
                  <a:gd name="connsiteY4" fmla="*/ 513184 h 1917453"/>
                  <a:gd name="connsiteX5" fmla="*/ 3316029 w 3316029"/>
                  <a:gd name="connsiteY5" fmla="*/ 158620 h 1917453"/>
                  <a:gd name="connsiteX6" fmla="*/ 2896151 w 3316029"/>
                  <a:gd name="connsiteY6" fmla="*/ 0 h 1917453"/>
                  <a:gd name="connsiteX7" fmla="*/ 2149702 w 3316029"/>
                  <a:gd name="connsiteY7" fmla="*/ 1782147 h 1917453"/>
                  <a:gd name="connsiteX8" fmla="*/ 1421914 w 3316029"/>
                  <a:gd name="connsiteY8" fmla="*/ 0 h 1917453"/>
                  <a:gd name="connsiteX0" fmla="*/ 1421914 w 3316029"/>
                  <a:gd name="connsiteY0" fmla="*/ 0 h 1917453"/>
                  <a:gd name="connsiteX1" fmla="*/ 7225 w 3316029"/>
                  <a:gd name="connsiteY1" fmla="*/ 1623721 h 1917453"/>
                  <a:gd name="connsiteX2" fmla="*/ 2933474 w 3316029"/>
                  <a:gd name="connsiteY2" fmla="*/ 1884784 h 1917453"/>
                  <a:gd name="connsiteX3" fmla="*/ 2886821 w 3316029"/>
                  <a:gd name="connsiteY3" fmla="*/ 1772816 h 1917453"/>
                  <a:gd name="connsiteX4" fmla="*/ 3316029 w 3316029"/>
                  <a:gd name="connsiteY4" fmla="*/ 513184 h 1917453"/>
                  <a:gd name="connsiteX5" fmla="*/ 3316029 w 3316029"/>
                  <a:gd name="connsiteY5" fmla="*/ 158620 h 1917453"/>
                  <a:gd name="connsiteX6" fmla="*/ 2896151 w 3316029"/>
                  <a:gd name="connsiteY6" fmla="*/ 0 h 1917453"/>
                  <a:gd name="connsiteX7" fmla="*/ 2149702 w 3316029"/>
                  <a:gd name="connsiteY7" fmla="*/ 1782147 h 1917453"/>
                  <a:gd name="connsiteX8" fmla="*/ 1421914 w 3316029"/>
                  <a:gd name="connsiteY8" fmla="*/ 0 h 1917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16029" h="1917453">
                    <a:moveTo>
                      <a:pt x="1421914" y="0"/>
                    </a:moveTo>
                    <a:cubicBezTo>
                      <a:pt x="-316689" y="435428"/>
                      <a:pt x="45908" y="1617501"/>
                      <a:pt x="7225" y="1623721"/>
                    </a:cubicBezTo>
                    <a:cubicBezTo>
                      <a:pt x="868946" y="1956513"/>
                      <a:pt x="1941319" y="1943878"/>
                      <a:pt x="2933474" y="1884784"/>
                    </a:cubicBezTo>
                    <a:lnTo>
                      <a:pt x="2886821" y="1772816"/>
                    </a:lnTo>
                    <a:lnTo>
                      <a:pt x="3316029" y="513184"/>
                    </a:lnTo>
                    <a:lnTo>
                      <a:pt x="3316029" y="158620"/>
                    </a:lnTo>
                    <a:lnTo>
                      <a:pt x="2896151" y="0"/>
                    </a:lnTo>
                    <a:cubicBezTo>
                      <a:pt x="2731310" y="584719"/>
                      <a:pt x="2473163" y="1374710"/>
                      <a:pt x="2149702" y="1782147"/>
                    </a:cubicBezTo>
                    <a:cubicBezTo>
                      <a:pt x="1826241" y="1377820"/>
                      <a:pt x="1568094" y="572278"/>
                      <a:pt x="1421914" y="0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881">
                  <a:defRPr/>
                </a:pPr>
                <a:endParaRPr lang="en-IN" kern="0" dirty="0">
                  <a:solidFill>
                    <a:prstClr val="white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5" name="Freeform 85"/>
              <p:cNvSpPr/>
              <p:nvPr/>
            </p:nvSpPr>
            <p:spPr>
              <a:xfrm>
                <a:off x="7703901" y="4266374"/>
                <a:ext cx="426246" cy="1117201"/>
              </a:xfrm>
              <a:custGeom>
                <a:avLst/>
                <a:gdLst>
                  <a:gd name="connsiteX0" fmla="*/ 73823 w 426246"/>
                  <a:gd name="connsiteY0" fmla="*/ 402431 h 1117201"/>
                  <a:gd name="connsiteX1" fmla="*/ 352424 w 426246"/>
                  <a:gd name="connsiteY1" fmla="*/ 402431 h 1117201"/>
                  <a:gd name="connsiteX2" fmla="*/ 426246 w 426246"/>
                  <a:gd name="connsiteY2" fmla="*/ 726281 h 1117201"/>
                  <a:gd name="connsiteX3" fmla="*/ 426245 w 426246"/>
                  <a:gd name="connsiteY3" fmla="*/ 726281 h 1117201"/>
                  <a:gd name="connsiteX4" fmla="*/ 213123 w 426246"/>
                  <a:gd name="connsiteY4" fmla="*/ 1117201 h 1117201"/>
                  <a:gd name="connsiteX5" fmla="*/ 0 w 426246"/>
                  <a:gd name="connsiteY5" fmla="*/ 726281 h 1117201"/>
                  <a:gd name="connsiteX6" fmla="*/ 1 w 426246"/>
                  <a:gd name="connsiteY6" fmla="*/ 726281 h 1117201"/>
                  <a:gd name="connsiteX7" fmla="*/ 46437 w 426246"/>
                  <a:gd name="connsiteY7" fmla="*/ 0 h 1117201"/>
                  <a:gd name="connsiteX8" fmla="*/ 379811 w 426246"/>
                  <a:gd name="connsiteY8" fmla="*/ 0 h 1117201"/>
                  <a:gd name="connsiteX9" fmla="*/ 426246 w 426246"/>
                  <a:gd name="connsiteY9" fmla="*/ 46435 h 1117201"/>
                  <a:gd name="connsiteX10" fmla="*/ 358380 w 426246"/>
                  <a:gd name="connsiteY10" fmla="*/ 335756 h 1117201"/>
                  <a:gd name="connsiteX11" fmla="*/ 65488 w 426246"/>
                  <a:gd name="connsiteY11" fmla="*/ 335756 h 1117201"/>
                  <a:gd name="connsiteX12" fmla="*/ 2 w 426246"/>
                  <a:gd name="connsiteY12" fmla="*/ 46435 h 1117201"/>
                  <a:gd name="connsiteX13" fmla="*/ 46437 w 426246"/>
                  <a:gd name="connsiteY13" fmla="*/ 0 h 1117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6246" h="1117201">
                    <a:moveTo>
                      <a:pt x="73823" y="402431"/>
                    </a:moveTo>
                    <a:lnTo>
                      <a:pt x="352424" y="402431"/>
                    </a:lnTo>
                    <a:lnTo>
                      <a:pt x="426246" y="726281"/>
                    </a:lnTo>
                    <a:lnTo>
                      <a:pt x="426245" y="726281"/>
                    </a:lnTo>
                    <a:lnTo>
                      <a:pt x="213123" y="1117201"/>
                    </a:lnTo>
                    <a:lnTo>
                      <a:pt x="0" y="726281"/>
                    </a:lnTo>
                    <a:lnTo>
                      <a:pt x="1" y="726281"/>
                    </a:lnTo>
                    <a:close/>
                    <a:moveTo>
                      <a:pt x="46437" y="0"/>
                    </a:moveTo>
                    <a:lnTo>
                      <a:pt x="379811" y="0"/>
                    </a:lnTo>
                    <a:cubicBezTo>
                      <a:pt x="405456" y="0"/>
                      <a:pt x="426246" y="20790"/>
                      <a:pt x="426246" y="46435"/>
                    </a:cubicBezTo>
                    <a:lnTo>
                      <a:pt x="358380" y="335756"/>
                    </a:lnTo>
                    <a:lnTo>
                      <a:pt x="65488" y="335756"/>
                    </a:lnTo>
                    <a:cubicBezTo>
                      <a:pt x="49813" y="273249"/>
                      <a:pt x="2" y="102394"/>
                      <a:pt x="2" y="46435"/>
                    </a:cubicBezTo>
                    <a:cubicBezTo>
                      <a:pt x="2" y="20790"/>
                      <a:pt x="20792" y="0"/>
                      <a:pt x="4643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881">
                  <a:defRPr/>
                </a:pPr>
                <a:endParaRPr lang="en-IN" kern="0" dirty="0">
                  <a:solidFill>
                    <a:prstClr val="white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6" name="Freeform 86"/>
              <p:cNvSpPr/>
              <p:nvPr/>
            </p:nvSpPr>
            <p:spPr>
              <a:xfrm>
                <a:off x="8847534" y="3857942"/>
                <a:ext cx="1547508" cy="2041525"/>
              </a:xfrm>
              <a:custGeom>
                <a:avLst/>
                <a:gdLst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98550 w 1543050"/>
                  <a:gd name="connsiteY15" fmla="*/ 942975 h 2041525"/>
                  <a:gd name="connsiteX16" fmla="*/ 450850 w 1543050"/>
                  <a:gd name="connsiteY16" fmla="*/ 939800 h 2041525"/>
                  <a:gd name="connsiteX17" fmla="*/ 539750 w 1543050"/>
                  <a:gd name="connsiteY17" fmla="*/ 679450 h 2041525"/>
                  <a:gd name="connsiteX18" fmla="*/ 558800 w 1543050"/>
                  <a:gd name="connsiteY18" fmla="*/ 536575 h 2041525"/>
                  <a:gd name="connsiteX19" fmla="*/ 552450 w 1543050"/>
                  <a:gd name="connsiteY19" fmla="*/ 9525 h 2041525"/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98550 w 1543050"/>
                  <a:gd name="connsiteY15" fmla="*/ 942975 h 2041525"/>
                  <a:gd name="connsiteX16" fmla="*/ 450850 w 1543050"/>
                  <a:gd name="connsiteY16" fmla="*/ 939800 h 2041525"/>
                  <a:gd name="connsiteX17" fmla="*/ 558800 w 1543050"/>
                  <a:gd name="connsiteY17" fmla="*/ 536575 h 2041525"/>
                  <a:gd name="connsiteX18" fmla="*/ 552450 w 1543050"/>
                  <a:gd name="connsiteY18" fmla="*/ 9525 h 2041525"/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98550 w 1543050"/>
                  <a:gd name="connsiteY15" fmla="*/ 942975 h 2041525"/>
                  <a:gd name="connsiteX16" fmla="*/ 450850 w 1543050"/>
                  <a:gd name="connsiteY16" fmla="*/ 939800 h 2041525"/>
                  <a:gd name="connsiteX17" fmla="*/ 558800 w 1543050"/>
                  <a:gd name="connsiteY17" fmla="*/ 536575 h 2041525"/>
                  <a:gd name="connsiteX18" fmla="*/ 552450 w 1543050"/>
                  <a:gd name="connsiteY18" fmla="*/ 9525 h 2041525"/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98550 w 1543050"/>
                  <a:gd name="connsiteY15" fmla="*/ 942975 h 2041525"/>
                  <a:gd name="connsiteX16" fmla="*/ 450850 w 1543050"/>
                  <a:gd name="connsiteY16" fmla="*/ 939800 h 2041525"/>
                  <a:gd name="connsiteX17" fmla="*/ 558800 w 1543050"/>
                  <a:gd name="connsiteY17" fmla="*/ 536575 h 2041525"/>
                  <a:gd name="connsiteX18" fmla="*/ 552450 w 1543050"/>
                  <a:gd name="connsiteY18" fmla="*/ 9525 h 2041525"/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98550 w 1543050"/>
                  <a:gd name="connsiteY15" fmla="*/ 942975 h 2041525"/>
                  <a:gd name="connsiteX16" fmla="*/ 450850 w 1543050"/>
                  <a:gd name="connsiteY16" fmla="*/ 939800 h 2041525"/>
                  <a:gd name="connsiteX17" fmla="*/ 558800 w 1543050"/>
                  <a:gd name="connsiteY17" fmla="*/ 536575 h 2041525"/>
                  <a:gd name="connsiteX18" fmla="*/ 552450 w 1543050"/>
                  <a:gd name="connsiteY18" fmla="*/ 9525 h 2041525"/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98550 w 1543050"/>
                  <a:gd name="connsiteY15" fmla="*/ 942975 h 2041525"/>
                  <a:gd name="connsiteX16" fmla="*/ 463550 w 1543050"/>
                  <a:gd name="connsiteY16" fmla="*/ 930275 h 2041525"/>
                  <a:gd name="connsiteX17" fmla="*/ 558800 w 1543050"/>
                  <a:gd name="connsiteY17" fmla="*/ 536575 h 2041525"/>
                  <a:gd name="connsiteX18" fmla="*/ 552450 w 1543050"/>
                  <a:gd name="connsiteY18" fmla="*/ 9525 h 2041525"/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8800 w 1543050"/>
                  <a:gd name="connsiteY17" fmla="*/ 536575 h 2041525"/>
                  <a:gd name="connsiteX18" fmla="*/ 552450 w 1543050"/>
                  <a:gd name="connsiteY18" fmla="*/ 9525 h 2041525"/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8800 w 1543050"/>
                  <a:gd name="connsiteY17" fmla="*/ 536575 h 2041525"/>
                  <a:gd name="connsiteX18" fmla="*/ 552450 w 1543050"/>
                  <a:gd name="connsiteY18" fmla="*/ 9525 h 2041525"/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8800 w 1543050"/>
                  <a:gd name="connsiteY17" fmla="*/ 536575 h 2041525"/>
                  <a:gd name="connsiteX18" fmla="*/ 552450 w 1543050"/>
                  <a:gd name="connsiteY18" fmla="*/ 9525 h 2041525"/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2450 w 1543050"/>
                  <a:gd name="connsiteY17" fmla="*/ 9525 h 2041525"/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2450 w 1543050"/>
                  <a:gd name="connsiteY17" fmla="*/ 9525 h 2041525"/>
                  <a:gd name="connsiteX0" fmla="*/ 552450 w 1543050"/>
                  <a:gd name="connsiteY0" fmla="*/ 952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2450 w 1543050"/>
                  <a:gd name="connsiteY17" fmla="*/ 9525 h 2041525"/>
                  <a:gd name="connsiteX0" fmla="*/ 56197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61975 w 1543050"/>
                  <a:gd name="connsiteY17" fmla="*/ 3175 h 2041525"/>
                  <a:gd name="connsiteX0" fmla="*/ 56197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61975 w 1543050"/>
                  <a:gd name="connsiteY17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5625 w 1543050"/>
                  <a:gd name="connsiteY17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5625 w 1543050"/>
                  <a:gd name="connsiteY17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5625 w 1543050"/>
                  <a:gd name="connsiteY17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5625 w 1543050"/>
                  <a:gd name="connsiteY17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5625 w 1543050"/>
                  <a:gd name="connsiteY17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00125 w 1543050"/>
                  <a:gd name="connsiteY14" fmla="*/ 584200 h 2041525"/>
                  <a:gd name="connsiteX15" fmla="*/ 1079500 w 1543050"/>
                  <a:gd name="connsiteY15" fmla="*/ 936625 h 2041525"/>
                  <a:gd name="connsiteX16" fmla="*/ 463550 w 1543050"/>
                  <a:gd name="connsiteY16" fmla="*/ 930275 h 2041525"/>
                  <a:gd name="connsiteX17" fmla="*/ 555625 w 1543050"/>
                  <a:gd name="connsiteY17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30300 w 1543050"/>
                  <a:gd name="connsiteY11" fmla="*/ 504825 h 2041525"/>
                  <a:gd name="connsiteX12" fmla="*/ 1120775 w 1543050"/>
                  <a:gd name="connsiteY12" fmla="*/ 12700 h 2041525"/>
                  <a:gd name="connsiteX13" fmla="*/ 996950 w 1543050"/>
                  <a:gd name="connsiteY13" fmla="*/ 12700 h 2041525"/>
                  <a:gd name="connsiteX14" fmla="*/ 1079500 w 1543050"/>
                  <a:gd name="connsiteY14" fmla="*/ 936625 h 2041525"/>
                  <a:gd name="connsiteX15" fmla="*/ 463550 w 1543050"/>
                  <a:gd name="connsiteY15" fmla="*/ 930275 h 2041525"/>
                  <a:gd name="connsiteX16" fmla="*/ 555625 w 1543050"/>
                  <a:gd name="connsiteY16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43000 w 1543050"/>
                  <a:gd name="connsiteY10" fmla="*/ 657225 h 2041525"/>
                  <a:gd name="connsiteX11" fmla="*/ 1120775 w 1543050"/>
                  <a:gd name="connsiteY11" fmla="*/ 12700 h 2041525"/>
                  <a:gd name="connsiteX12" fmla="*/ 996950 w 1543050"/>
                  <a:gd name="connsiteY12" fmla="*/ 12700 h 2041525"/>
                  <a:gd name="connsiteX13" fmla="*/ 1079500 w 1543050"/>
                  <a:gd name="connsiteY13" fmla="*/ 936625 h 2041525"/>
                  <a:gd name="connsiteX14" fmla="*/ 463550 w 1543050"/>
                  <a:gd name="connsiteY14" fmla="*/ 930275 h 2041525"/>
                  <a:gd name="connsiteX15" fmla="*/ 555625 w 1543050"/>
                  <a:gd name="connsiteY15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368300 w 1543050"/>
                  <a:gd name="connsiteY3" fmla="*/ 796925 h 2041525"/>
                  <a:gd name="connsiteX4" fmla="*/ 0 w 1543050"/>
                  <a:gd name="connsiteY4" fmla="*/ 1873250 h 2041525"/>
                  <a:gd name="connsiteX5" fmla="*/ 57150 w 1543050"/>
                  <a:gd name="connsiteY5" fmla="*/ 1997075 h 2041525"/>
                  <a:gd name="connsiteX6" fmla="*/ 171450 w 1543050"/>
                  <a:gd name="connsiteY6" fmla="*/ 2041525 h 2041525"/>
                  <a:gd name="connsiteX7" fmla="*/ 1381125 w 1543050"/>
                  <a:gd name="connsiteY7" fmla="*/ 2041525 h 2041525"/>
                  <a:gd name="connsiteX8" fmla="*/ 1508125 w 1543050"/>
                  <a:gd name="connsiteY8" fmla="*/ 1990725 h 2041525"/>
                  <a:gd name="connsiteX9" fmla="*/ 1543050 w 1543050"/>
                  <a:gd name="connsiteY9" fmla="*/ 1806575 h 2041525"/>
                  <a:gd name="connsiteX10" fmla="*/ 1120775 w 1543050"/>
                  <a:gd name="connsiteY10" fmla="*/ 12700 h 2041525"/>
                  <a:gd name="connsiteX11" fmla="*/ 996950 w 1543050"/>
                  <a:gd name="connsiteY11" fmla="*/ 12700 h 2041525"/>
                  <a:gd name="connsiteX12" fmla="*/ 1079500 w 1543050"/>
                  <a:gd name="connsiteY12" fmla="*/ 936625 h 2041525"/>
                  <a:gd name="connsiteX13" fmla="*/ 463550 w 1543050"/>
                  <a:gd name="connsiteY13" fmla="*/ 930275 h 2041525"/>
                  <a:gd name="connsiteX14" fmla="*/ 555625 w 1543050"/>
                  <a:gd name="connsiteY14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422275 w 1543050"/>
                  <a:gd name="connsiteY2" fmla="*/ 574675 h 2041525"/>
                  <a:gd name="connsiteX3" fmla="*/ 0 w 1543050"/>
                  <a:gd name="connsiteY3" fmla="*/ 1873250 h 2041525"/>
                  <a:gd name="connsiteX4" fmla="*/ 57150 w 1543050"/>
                  <a:gd name="connsiteY4" fmla="*/ 1997075 h 2041525"/>
                  <a:gd name="connsiteX5" fmla="*/ 171450 w 1543050"/>
                  <a:gd name="connsiteY5" fmla="*/ 2041525 h 2041525"/>
                  <a:gd name="connsiteX6" fmla="*/ 1381125 w 1543050"/>
                  <a:gd name="connsiteY6" fmla="*/ 2041525 h 2041525"/>
                  <a:gd name="connsiteX7" fmla="*/ 1508125 w 1543050"/>
                  <a:gd name="connsiteY7" fmla="*/ 1990725 h 2041525"/>
                  <a:gd name="connsiteX8" fmla="*/ 1543050 w 1543050"/>
                  <a:gd name="connsiteY8" fmla="*/ 1806575 h 2041525"/>
                  <a:gd name="connsiteX9" fmla="*/ 1120775 w 1543050"/>
                  <a:gd name="connsiteY9" fmla="*/ 12700 h 2041525"/>
                  <a:gd name="connsiteX10" fmla="*/ 996950 w 1543050"/>
                  <a:gd name="connsiteY10" fmla="*/ 12700 h 2041525"/>
                  <a:gd name="connsiteX11" fmla="*/ 1079500 w 1543050"/>
                  <a:gd name="connsiteY11" fmla="*/ 936625 h 2041525"/>
                  <a:gd name="connsiteX12" fmla="*/ 463550 w 1543050"/>
                  <a:gd name="connsiteY12" fmla="*/ 930275 h 2041525"/>
                  <a:gd name="connsiteX13" fmla="*/ 555625 w 1543050"/>
                  <a:gd name="connsiteY13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216025 w 1543050"/>
                  <a:gd name="connsiteY8" fmla="*/ 962025 h 2041525"/>
                  <a:gd name="connsiteX9" fmla="*/ 1120775 w 1543050"/>
                  <a:gd name="connsiteY9" fmla="*/ 12700 h 2041525"/>
                  <a:gd name="connsiteX10" fmla="*/ 996950 w 1543050"/>
                  <a:gd name="connsiteY10" fmla="*/ 12700 h 2041525"/>
                  <a:gd name="connsiteX11" fmla="*/ 1079500 w 1543050"/>
                  <a:gd name="connsiteY11" fmla="*/ 936625 h 2041525"/>
                  <a:gd name="connsiteX12" fmla="*/ 463550 w 1543050"/>
                  <a:gd name="connsiteY12" fmla="*/ 930275 h 2041525"/>
                  <a:gd name="connsiteX13" fmla="*/ 555625 w 1543050"/>
                  <a:gd name="connsiteY13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244600 w 1543050"/>
                  <a:gd name="connsiteY8" fmla="*/ 962025 h 2041525"/>
                  <a:gd name="connsiteX9" fmla="*/ 1120775 w 1543050"/>
                  <a:gd name="connsiteY9" fmla="*/ 12700 h 2041525"/>
                  <a:gd name="connsiteX10" fmla="*/ 996950 w 1543050"/>
                  <a:gd name="connsiteY10" fmla="*/ 12700 h 2041525"/>
                  <a:gd name="connsiteX11" fmla="*/ 1079500 w 1543050"/>
                  <a:gd name="connsiteY11" fmla="*/ 936625 h 2041525"/>
                  <a:gd name="connsiteX12" fmla="*/ 463550 w 1543050"/>
                  <a:gd name="connsiteY12" fmla="*/ 930275 h 2041525"/>
                  <a:gd name="connsiteX13" fmla="*/ 555625 w 1543050"/>
                  <a:gd name="connsiteY13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244600 w 1543050"/>
                  <a:gd name="connsiteY8" fmla="*/ 962025 h 2041525"/>
                  <a:gd name="connsiteX9" fmla="*/ 1120775 w 1543050"/>
                  <a:gd name="connsiteY9" fmla="*/ 12700 h 2041525"/>
                  <a:gd name="connsiteX10" fmla="*/ 996950 w 1543050"/>
                  <a:gd name="connsiteY10" fmla="*/ 12700 h 2041525"/>
                  <a:gd name="connsiteX11" fmla="*/ 1079500 w 1543050"/>
                  <a:gd name="connsiteY11" fmla="*/ 936625 h 2041525"/>
                  <a:gd name="connsiteX12" fmla="*/ 463550 w 1543050"/>
                  <a:gd name="connsiteY12" fmla="*/ 930275 h 2041525"/>
                  <a:gd name="connsiteX13" fmla="*/ 555625 w 1543050"/>
                  <a:gd name="connsiteY13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244600 w 1543050"/>
                  <a:gd name="connsiteY8" fmla="*/ 962025 h 2041525"/>
                  <a:gd name="connsiteX9" fmla="*/ 1120775 w 1543050"/>
                  <a:gd name="connsiteY9" fmla="*/ 12700 h 2041525"/>
                  <a:gd name="connsiteX10" fmla="*/ 996950 w 1543050"/>
                  <a:gd name="connsiteY10" fmla="*/ 12700 h 2041525"/>
                  <a:gd name="connsiteX11" fmla="*/ 1079500 w 1543050"/>
                  <a:gd name="connsiteY11" fmla="*/ 936625 h 2041525"/>
                  <a:gd name="connsiteX12" fmla="*/ 463550 w 1543050"/>
                  <a:gd name="connsiteY12" fmla="*/ 930275 h 2041525"/>
                  <a:gd name="connsiteX13" fmla="*/ 555625 w 1543050"/>
                  <a:gd name="connsiteY13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244600 w 1543050"/>
                  <a:gd name="connsiteY8" fmla="*/ 962025 h 2041525"/>
                  <a:gd name="connsiteX9" fmla="*/ 1120775 w 1543050"/>
                  <a:gd name="connsiteY9" fmla="*/ 12700 h 2041525"/>
                  <a:gd name="connsiteX10" fmla="*/ 996950 w 1543050"/>
                  <a:gd name="connsiteY10" fmla="*/ 12700 h 2041525"/>
                  <a:gd name="connsiteX11" fmla="*/ 1079500 w 1543050"/>
                  <a:gd name="connsiteY11" fmla="*/ 936625 h 2041525"/>
                  <a:gd name="connsiteX12" fmla="*/ 463550 w 1543050"/>
                  <a:gd name="connsiteY12" fmla="*/ 930275 h 2041525"/>
                  <a:gd name="connsiteX13" fmla="*/ 555625 w 1543050"/>
                  <a:gd name="connsiteY13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244600 w 1543050"/>
                  <a:gd name="connsiteY8" fmla="*/ 962025 h 2041525"/>
                  <a:gd name="connsiteX9" fmla="*/ 1120775 w 1543050"/>
                  <a:gd name="connsiteY9" fmla="*/ 12700 h 2041525"/>
                  <a:gd name="connsiteX10" fmla="*/ 996950 w 1543050"/>
                  <a:gd name="connsiteY10" fmla="*/ 12700 h 2041525"/>
                  <a:gd name="connsiteX11" fmla="*/ 1079500 w 1543050"/>
                  <a:gd name="connsiteY11" fmla="*/ 936625 h 2041525"/>
                  <a:gd name="connsiteX12" fmla="*/ 463550 w 1543050"/>
                  <a:gd name="connsiteY12" fmla="*/ 930275 h 2041525"/>
                  <a:gd name="connsiteX13" fmla="*/ 555625 w 1543050"/>
                  <a:gd name="connsiteY13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244600 w 1543050"/>
                  <a:gd name="connsiteY8" fmla="*/ 962025 h 2041525"/>
                  <a:gd name="connsiteX9" fmla="*/ 1120775 w 1543050"/>
                  <a:gd name="connsiteY9" fmla="*/ 12700 h 2041525"/>
                  <a:gd name="connsiteX10" fmla="*/ 996950 w 1543050"/>
                  <a:gd name="connsiteY10" fmla="*/ 12700 h 2041525"/>
                  <a:gd name="connsiteX11" fmla="*/ 1079500 w 1543050"/>
                  <a:gd name="connsiteY11" fmla="*/ 936625 h 2041525"/>
                  <a:gd name="connsiteX12" fmla="*/ 463550 w 1543050"/>
                  <a:gd name="connsiteY12" fmla="*/ 930275 h 2041525"/>
                  <a:gd name="connsiteX13" fmla="*/ 555625 w 1543050"/>
                  <a:gd name="connsiteY13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244600 w 1543050"/>
                  <a:gd name="connsiteY8" fmla="*/ 962025 h 2041525"/>
                  <a:gd name="connsiteX9" fmla="*/ 1120775 w 1543050"/>
                  <a:gd name="connsiteY9" fmla="*/ 12700 h 2041525"/>
                  <a:gd name="connsiteX10" fmla="*/ 996950 w 1543050"/>
                  <a:gd name="connsiteY10" fmla="*/ 12700 h 2041525"/>
                  <a:gd name="connsiteX11" fmla="*/ 1079500 w 1543050"/>
                  <a:gd name="connsiteY11" fmla="*/ 936625 h 2041525"/>
                  <a:gd name="connsiteX12" fmla="*/ 463550 w 1543050"/>
                  <a:gd name="connsiteY12" fmla="*/ 930275 h 2041525"/>
                  <a:gd name="connsiteX13" fmla="*/ 555625 w 1543050"/>
                  <a:gd name="connsiteY13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08125 w 1543050"/>
                  <a:gd name="connsiteY6" fmla="*/ 1990725 h 2041525"/>
                  <a:gd name="connsiteX7" fmla="*/ 1543050 w 1543050"/>
                  <a:gd name="connsiteY7" fmla="*/ 1806575 h 2041525"/>
                  <a:gd name="connsiteX8" fmla="*/ 1244600 w 1543050"/>
                  <a:gd name="connsiteY8" fmla="*/ 962025 h 2041525"/>
                  <a:gd name="connsiteX9" fmla="*/ 1120775 w 1543050"/>
                  <a:gd name="connsiteY9" fmla="*/ 12700 h 2041525"/>
                  <a:gd name="connsiteX10" fmla="*/ 996950 w 1543050"/>
                  <a:gd name="connsiteY10" fmla="*/ 12700 h 2041525"/>
                  <a:gd name="connsiteX11" fmla="*/ 1079500 w 1543050"/>
                  <a:gd name="connsiteY11" fmla="*/ 936625 h 2041525"/>
                  <a:gd name="connsiteX12" fmla="*/ 463550 w 1543050"/>
                  <a:gd name="connsiteY12" fmla="*/ 930275 h 2041525"/>
                  <a:gd name="connsiteX13" fmla="*/ 555625 w 1543050"/>
                  <a:gd name="connsiteY13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57150 w 1543050"/>
                  <a:gd name="connsiteY3" fmla="*/ 1997075 h 2041525"/>
                  <a:gd name="connsiteX4" fmla="*/ 171450 w 1543050"/>
                  <a:gd name="connsiteY4" fmla="*/ 2041525 h 2041525"/>
                  <a:gd name="connsiteX5" fmla="*/ 1381125 w 1543050"/>
                  <a:gd name="connsiteY5" fmla="*/ 2041525 h 2041525"/>
                  <a:gd name="connsiteX6" fmla="*/ 1543050 w 1543050"/>
                  <a:gd name="connsiteY6" fmla="*/ 1806575 h 2041525"/>
                  <a:gd name="connsiteX7" fmla="*/ 1244600 w 1543050"/>
                  <a:gd name="connsiteY7" fmla="*/ 962025 h 2041525"/>
                  <a:gd name="connsiteX8" fmla="*/ 1120775 w 1543050"/>
                  <a:gd name="connsiteY8" fmla="*/ 12700 h 2041525"/>
                  <a:gd name="connsiteX9" fmla="*/ 996950 w 1543050"/>
                  <a:gd name="connsiteY9" fmla="*/ 12700 h 2041525"/>
                  <a:gd name="connsiteX10" fmla="*/ 1079500 w 1543050"/>
                  <a:gd name="connsiteY10" fmla="*/ 936625 h 2041525"/>
                  <a:gd name="connsiteX11" fmla="*/ 463550 w 1543050"/>
                  <a:gd name="connsiteY11" fmla="*/ 930275 h 2041525"/>
                  <a:gd name="connsiteX12" fmla="*/ 555625 w 1543050"/>
                  <a:gd name="connsiteY12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171450 w 1543050"/>
                  <a:gd name="connsiteY3" fmla="*/ 2041525 h 2041525"/>
                  <a:gd name="connsiteX4" fmla="*/ 1381125 w 1543050"/>
                  <a:gd name="connsiteY4" fmla="*/ 2041525 h 2041525"/>
                  <a:gd name="connsiteX5" fmla="*/ 1543050 w 1543050"/>
                  <a:gd name="connsiteY5" fmla="*/ 1806575 h 2041525"/>
                  <a:gd name="connsiteX6" fmla="*/ 1244600 w 1543050"/>
                  <a:gd name="connsiteY6" fmla="*/ 962025 h 2041525"/>
                  <a:gd name="connsiteX7" fmla="*/ 1120775 w 1543050"/>
                  <a:gd name="connsiteY7" fmla="*/ 12700 h 2041525"/>
                  <a:gd name="connsiteX8" fmla="*/ 996950 w 1543050"/>
                  <a:gd name="connsiteY8" fmla="*/ 12700 h 2041525"/>
                  <a:gd name="connsiteX9" fmla="*/ 1079500 w 1543050"/>
                  <a:gd name="connsiteY9" fmla="*/ 936625 h 2041525"/>
                  <a:gd name="connsiteX10" fmla="*/ 463550 w 1543050"/>
                  <a:gd name="connsiteY10" fmla="*/ 930275 h 2041525"/>
                  <a:gd name="connsiteX11" fmla="*/ 555625 w 1543050"/>
                  <a:gd name="connsiteY11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171450 w 1543050"/>
                  <a:gd name="connsiteY3" fmla="*/ 2041525 h 2041525"/>
                  <a:gd name="connsiteX4" fmla="*/ 1381125 w 1543050"/>
                  <a:gd name="connsiteY4" fmla="*/ 2041525 h 2041525"/>
                  <a:gd name="connsiteX5" fmla="*/ 1543050 w 1543050"/>
                  <a:gd name="connsiteY5" fmla="*/ 1806575 h 2041525"/>
                  <a:gd name="connsiteX6" fmla="*/ 1244600 w 1543050"/>
                  <a:gd name="connsiteY6" fmla="*/ 962025 h 2041525"/>
                  <a:gd name="connsiteX7" fmla="*/ 1120775 w 1543050"/>
                  <a:gd name="connsiteY7" fmla="*/ 12700 h 2041525"/>
                  <a:gd name="connsiteX8" fmla="*/ 996950 w 1543050"/>
                  <a:gd name="connsiteY8" fmla="*/ 12700 h 2041525"/>
                  <a:gd name="connsiteX9" fmla="*/ 1079500 w 1543050"/>
                  <a:gd name="connsiteY9" fmla="*/ 936625 h 2041525"/>
                  <a:gd name="connsiteX10" fmla="*/ 463550 w 1543050"/>
                  <a:gd name="connsiteY10" fmla="*/ 930275 h 2041525"/>
                  <a:gd name="connsiteX11" fmla="*/ 555625 w 1543050"/>
                  <a:gd name="connsiteY11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171450 w 1543050"/>
                  <a:gd name="connsiteY3" fmla="*/ 2041525 h 2041525"/>
                  <a:gd name="connsiteX4" fmla="*/ 1381125 w 1543050"/>
                  <a:gd name="connsiteY4" fmla="*/ 2041525 h 2041525"/>
                  <a:gd name="connsiteX5" fmla="*/ 1543050 w 1543050"/>
                  <a:gd name="connsiteY5" fmla="*/ 1806575 h 2041525"/>
                  <a:gd name="connsiteX6" fmla="*/ 1244600 w 1543050"/>
                  <a:gd name="connsiteY6" fmla="*/ 962025 h 2041525"/>
                  <a:gd name="connsiteX7" fmla="*/ 1120775 w 1543050"/>
                  <a:gd name="connsiteY7" fmla="*/ 12700 h 2041525"/>
                  <a:gd name="connsiteX8" fmla="*/ 996950 w 1543050"/>
                  <a:gd name="connsiteY8" fmla="*/ 12700 h 2041525"/>
                  <a:gd name="connsiteX9" fmla="*/ 1079500 w 1543050"/>
                  <a:gd name="connsiteY9" fmla="*/ 936625 h 2041525"/>
                  <a:gd name="connsiteX10" fmla="*/ 463550 w 1543050"/>
                  <a:gd name="connsiteY10" fmla="*/ 930275 h 2041525"/>
                  <a:gd name="connsiteX11" fmla="*/ 555625 w 1543050"/>
                  <a:gd name="connsiteY11" fmla="*/ 3175 h 2041525"/>
                  <a:gd name="connsiteX0" fmla="*/ 555625 w 1543050"/>
                  <a:gd name="connsiteY0" fmla="*/ 3175 h 2041525"/>
                  <a:gd name="connsiteX1" fmla="*/ 422275 w 1543050"/>
                  <a:gd name="connsiteY1" fmla="*/ 0 h 2041525"/>
                  <a:gd name="connsiteX2" fmla="*/ 0 w 1543050"/>
                  <a:gd name="connsiteY2" fmla="*/ 1873250 h 2041525"/>
                  <a:gd name="connsiteX3" fmla="*/ 171450 w 1543050"/>
                  <a:gd name="connsiteY3" fmla="*/ 2041525 h 2041525"/>
                  <a:gd name="connsiteX4" fmla="*/ 1381125 w 1543050"/>
                  <a:gd name="connsiteY4" fmla="*/ 2041525 h 2041525"/>
                  <a:gd name="connsiteX5" fmla="*/ 1543050 w 1543050"/>
                  <a:gd name="connsiteY5" fmla="*/ 1806575 h 2041525"/>
                  <a:gd name="connsiteX6" fmla="*/ 1244600 w 1543050"/>
                  <a:gd name="connsiteY6" fmla="*/ 962025 h 2041525"/>
                  <a:gd name="connsiteX7" fmla="*/ 1120775 w 1543050"/>
                  <a:gd name="connsiteY7" fmla="*/ 12700 h 2041525"/>
                  <a:gd name="connsiteX8" fmla="*/ 996950 w 1543050"/>
                  <a:gd name="connsiteY8" fmla="*/ 12700 h 2041525"/>
                  <a:gd name="connsiteX9" fmla="*/ 1079500 w 1543050"/>
                  <a:gd name="connsiteY9" fmla="*/ 936625 h 2041525"/>
                  <a:gd name="connsiteX10" fmla="*/ 463550 w 1543050"/>
                  <a:gd name="connsiteY10" fmla="*/ 930275 h 2041525"/>
                  <a:gd name="connsiteX11" fmla="*/ 555625 w 1543050"/>
                  <a:gd name="connsiteY11" fmla="*/ 3175 h 2041525"/>
                  <a:gd name="connsiteX0" fmla="*/ 555625 w 1546413"/>
                  <a:gd name="connsiteY0" fmla="*/ 3175 h 2041525"/>
                  <a:gd name="connsiteX1" fmla="*/ 422275 w 1546413"/>
                  <a:gd name="connsiteY1" fmla="*/ 0 h 2041525"/>
                  <a:gd name="connsiteX2" fmla="*/ 0 w 1546413"/>
                  <a:gd name="connsiteY2" fmla="*/ 1873250 h 2041525"/>
                  <a:gd name="connsiteX3" fmla="*/ 171450 w 1546413"/>
                  <a:gd name="connsiteY3" fmla="*/ 2041525 h 2041525"/>
                  <a:gd name="connsiteX4" fmla="*/ 1381125 w 1546413"/>
                  <a:gd name="connsiteY4" fmla="*/ 2041525 h 2041525"/>
                  <a:gd name="connsiteX5" fmla="*/ 1543050 w 1546413"/>
                  <a:gd name="connsiteY5" fmla="*/ 1806575 h 2041525"/>
                  <a:gd name="connsiteX6" fmla="*/ 1244600 w 1546413"/>
                  <a:gd name="connsiteY6" fmla="*/ 962025 h 2041525"/>
                  <a:gd name="connsiteX7" fmla="*/ 1120775 w 1546413"/>
                  <a:gd name="connsiteY7" fmla="*/ 12700 h 2041525"/>
                  <a:gd name="connsiteX8" fmla="*/ 996950 w 1546413"/>
                  <a:gd name="connsiteY8" fmla="*/ 12700 h 2041525"/>
                  <a:gd name="connsiteX9" fmla="*/ 1079500 w 1546413"/>
                  <a:gd name="connsiteY9" fmla="*/ 936625 h 2041525"/>
                  <a:gd name="connsiteX10" fmla="*/ 463550 w 1546413"/>
                  <a:gd name="connsiteY10" fmla="*/ 930275 h 2041525"/>
                  <a:gd name="connsiteX11" fmla="*/ 555625 w 1546413"/>
                  <a:gd name="connsiteY11" fmla="*/ 3175 h 2041525"/>
                  <a:gd name="connsiteX0" fmla="*/ 557163 w 1547951"/>
                  <a:gd name="connsiteY0" fmla="*/ 3175 h 2041525"/>
                  <a:gd name="connsiteX1" fmla="*/ 423813 w 1547951"/>
                  <a:gd name="connsiteY1" fmla="*/ 0 h 2041525"/>
                  <a:gd name="connsiteX2" fmla="*/ 1538 w 1547951"/>
                  <a:gd name="connsiteY2" fmla="*/ 1873250 h 2041525"/>
                  <a:gd name="connsiteX3" fmla="*/ 172988 w 1547951"/>
                  <a:gd name="connsiteY3" fmla="*/ 2041525 h 2041525"/>
                  <a:gd name="connsiteX4" fmla="*/ 1382663 w 1547951"/>
                  <a:gd name="connsiteY4" fmla="*/ 2041525 h 2041525"/>
                  <a:gd name="connsiteX5" fmla="*/ 1544588 w 1547951"/>
                  <a:gd name="connsiteY5" fmla="*/ 1806575 h 2041525"/>
                  <a:gd name="connsiteX6" fmla="*/ 1246138 w 1547951"/>
                  <a:gd name="connsiteY6" fmla="*/ 962025 h 2041525"/>
                  <a:gd name="connsiteX7" fmla="*/ 1122313 w 1547951"/>
                  <a:gd name="connsiteY7" fmla="*/ 12700 h 2041525"/>
                  <a:gd name="connsiteX8" fmla="*/ 998488 w 1547951"/>
                  <a:gd name="connsiteY8" fmla="*/ 12700 h 2041525"/>
                  <a:gd name="connsiteX9" fmla="*/ 1081038 w 1547951"/>
                  <a:gd name="connsiteY9" fmla="*/ 936625 h 2041525"/>
                  <a:gd name="connsiteX10" fmla="*/ 465088 w 1547951"/>
                  <a:gd name="connsiteY10" fmla="*/ 930275 h 2041525"/>
                  <a:gd name="connsiteX11" fmla="*/ 557163 w 1547951"/>
                  <a:gd name="connsiteY11" fmla="*/ 3175 h 2041525"/>
                  <a:gd name="connsiteX0" fmla="*/ 557820 w 1548608"/>
                  <a:gd name="connsiteY0" fmla="*/ 3175 h 2041525"/>
                  <a:gd name="connsiteX1" fmla="*/ 424470 w 1548608"/>
                  <a:gd name="connsiteY1" fmla="*/ 0 h 2041525"/>
                  <a:gd name="connsiteX2" fmla="*/ 2195 w 1548608"/>
                  <a:gd name="connsiteY2" fmla="*/ 1873250 h 2041525"/>
                  <a:gd name="connsiteX3" fmla="*/ 173645 w 1548608"/>
                  <a:gd name="connsiteY3" fmla="*/ 2041525 h 2041525"/>
                  <a:gd name="connsiteX4" fmla="*/ 1383320 w 1548608"/>
                  <a:gd name="connsiteY4" fmla="*/ 2041525 h 2041525"/>
                  <a:gd name="connsiteX5" fmla="*/ 1545245 w 1548608"/>
                  <a:gd name="connsiteY5" fmla="*/ 1806575 h 2041525"/>
                  <a:gd name="connsiteX6" fmla="*/ 1246795 w 1548608"/>
                  <a:gd name="connsiteY6" fmla="*/ 962025 h 2041525"/>
                  <a:gd name="connsiteX7" fmla="*/ 1122970 w 1548608"/>
                  <a:gd name="connsiteY7" fmla="*/ 12700 h 2041525"/>
                  <a:gd name="connsiteX8" fmla="*/ 999145 w 1548608"/>
                  <a:gd name="connsiteY8" fmla="*/ 12700 h 2041525"/>
                  <a:gd name="connsiteX9" fmla="*/ 1081695 w 1548608"/>
                  <a:gd name="connsiteY9" fmla="*/ 936625 h 2041525"/>
                  <a:gd name="connsiteX10" fmla="*/ 465745 w 1548608"/>
                  <a:gd name="connsiteY10" fmla="*/ 930275 h 2041525"/>
                  <a:gd name="connsiteX11" fmla="*/ 557820 w 1548608"/>
                  <a:gd name="connsiteY11" fmla="*/ 3175 h 2041525"/>
                  <a:gd name="connsiteX0" fmla="*/ 557820 w 1547508"/>
                  <a:gd name="connsiteY0" fmla="*/ 3175 h 2041525"/>
                  <a:gd name="connsiteX1" fmla="*/ 424470 w 1547508"/>
                  <a:gd name="connsiteY1" fmla="*/ 0 h 2041525"/>
                  <a:gd name="connsiteX2" fmla="*/ 2195 w 1547508"/>
                  <a:gd name="connsiteY2" fmla="*/ 1873250 h 2041525"/>
                  <a:gd name="connsiteX3" fmla="*/ 173645 w 1547508"/>
                  <a:gd name="connsiteY3" fmla="*/ 2041525 h 2041525"/>
                  <a:gd name="connsiteX4" fmla="*/ 1383320 w 1547508"/>
                  <a:gd name="connsiteY4" fmla="*/ 2041525 h 2041525"/>
                  <a:gd name="connsiteX5" fmla="*/ 1545245 w 1547508"/>
                  <a:gd name="connsiteY5" fmla="*/ 1806575 h 2041525"/>
                  <a:gd name="connsiteX6" fmla="*/ 1246795 w 1547508"/>
                  <a:gd name="connsiteY6" fmla="*/ 962025 h 2041525"/>
                  <a:gd name="connsiteX7" fmla="*/ 1122970 w 1547508"/>
                  <a:gd name="connsiteY7" fmla="*/ 12700 h 2041525"/>
                  <a:gd name="connsiteX8" fmla="*/ 999145 w 1547508"/>
                  <a:gd name="connsiteY8" fmla="*/ 12700 h 2041525"/>
                  <a:gd name="connsiteX9" fmla="*/ 1081695 w 1547508"/>
                  <a:gd name="connsiteY9" fmla="*/ 936625 h 2041525"/>
                  <a:gd name="connsiteX10" fmla="*/ 465745 w 1547508"/>
                  <a:gd name="connsiteY10" fmla="*/ 930275 h 2041525"/>
                  <a:gd name="connsiteX11" fmla="*/ 557820 w 1547508"/>
                  <a:gd name="connsiteY11" fmla="*/ 3175 h 204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7508" h="2041525">
                    <a:moveTo>
                      <a:pt x="557820" y="3175"/>
                    </a:moveTo>
                    <a:lnTo>
                      <a:pt x="424470" y="0"/>
                    </a:lnTo>
                    <a:cubicBezTo>
                      <a:pt x="486912" y="795867"/>
                      <a:pt x="184228" y="1204383"/>
                      <a:pt x="2195" y="1873250"/>
                    </a:cubicBezTo>
                    <a:cubicBezTo>
                      <a:pt x="-10505" y="1940454"/>
                      <a:pt x="29976" y="2035439"/>
                      <a:pt x="173645" y="2041525"/>
                    </a:cubicBezTo>
                    <a:lnTo>
                      <a:pt x="1383320" y="2041525"/>
                    </a:lnTo>
                    <a:cubicBezTo>
                      <a:pt x="1492064" y="2017977"/>
                      <a:pt x="1561120" y="1948392"/>
                      <a:pt x="1545245" y="1806575"/>
                    </a:cubicBezTo>
                    <a:cubicBezTo>
                      <a:pt x="1496562" y="1635125"/>
                      <a:pt x="1333049" y="1194329"/>
                      <a:pt x="1246795" y="962025"/>
                    </a:cubicBezTo>
                    <a:cubicBezTo>
                      <a:pt x="1106566" y="609071"/>
                      <a:pt x="1134083" y="189971"/>
                      <a:pt x="1122970" y="12700"/>
                    </a:cubicBezTo>
                    <a:lnTo>
                      <a:pt x="999145" y="12700"/>
                    </a:lnTo>
                    <a:cubicBezTo>
                      <a:pt x="1004966" y="176212"/>
                      <a:pt x="961045" y="701146"/>
                      <a:pt x="1081695" y="936625"/>
                    </a:cubicBezTo>
                    <a:lnTo>
                      <a:pt x="465745" y="930275"/>
                    </a:lnTo>
                    <a:cubicBezTo>
                      <a:pt x="581103" y="772583"/>
                      <a:pt x="567874" y="183621"/>
                      <a:pt x="557820" y="3175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881">
                  <a:defRPr/>
                </a:pPr>
                <a:endParaRPr lang="en-IN" kern="0" dirty="0">
                  <a:solidFill>
                    <a:prstClr val="white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7" name="Rounded Rectangle 88"/>
              <p:cNvSpPr/>
              <p:nvPr/>
            </p:nvSpPr>
            <p:spPr>
              <a:xfrm>
                <a:off x="9157704" y="3537266"/>
                <a:ext cx="946824" cy="263525"/>
              </a:xfrm>
              <a:prstGeom prst="roundRect">
                <a:avLst>
                  <a:gd name="adj" fmla="val 21666"/>
                </a:avLst>
              </a:pr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881">
                  <a:defRPr/>
                </a:pPr>
                <a:endParaRPr lang="en-IN" kern="0" dirty="0">
                  <a:solidFill>
                    <a:prstClr val="white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8" name="Freeform 89"/>
              <p:cNvSpPr/>
              <p:nvPr/>
            </p:nvSpPr>
            <p:spPr>
              <a:xfrm>
                <a:off x="7089322" y="2425771"/>
                <a:ext cx="1793873" cy="629817"/>
              </a:xfrm>
              <a:custGeom>
                <a:avLst/>
                <a:gdLst>
                  <a:gd name="connsiteX0" fmla="*/ 1199486 w 1793873"/>
                  <a:gd name="connsiteY0" fmla="*/ 158945 h 629817"/>
                  <a:gd name="connsiteX1" fmla="*/ 1199486 w 1793873"/>
                  <a:gd name="connsiteY1" fmla="*/ 508195 h 629817"/>
                  <a:gd name="connsiteX2" fmla="*/ 1637636 w 1793873"/>
                  <a:gd name="connsiteY2" fmla="*/ 508195 h 629817"/>
                  <a:gd name="connsiteX3" fmla="*/ 1637636 w 1793873"/>
                  <a:gd name="connsiteY3" fmla="*/ 158945 h 629817"/>
                  <a:gd name="connsiteX4" fmla="*/ 151165 w 1793873"/>
                  <a:gd name="connsiteY4" fmla="*/ 158945 h 629817"/>
                  <a:gd name="connsiteX5" fmla="*/ 151165 w 1793873"/>
                  <a:gd name="connsiteY5" fmla="*/ 508195 h 629817"/>
                  <a:gd name="connsiteX6" fmla="*/ 589315 w 1793873"/>
                  <a:gd name="connsiteY6" fmla="*/ 508195 h 629817"/>
                  <a:gd name="connsiteX7" fmla="*/ 589315 w 1793873"/>
                  <a:gd name="connsiteY7" fmla="*/ 158945 h 629817"/>
                  <a:gd name="connsiteX8" fmla="*/ 170284 w 1793873"/>
                  <a:gd name="connsiteY8" fmla="*/ 0 h 629817"/>
                  <a:gd name="connsiteX9" fmla="*/ 571500 w 1793873"/>
                  <a:gd name="connsiteY9" fmla="*/ 0 h 629817"/>
                  <a:gd name="connsiteX10" fmla="*/ 580706 w 1793873"/>
                  <a:gd name="connsiteY10" fmla="*/ 1859 h 629817"/>
                  <a:gd name="connsiteX11" fmla="*/ 580706 w 1793873"/>
                  <a:gd name="connsiteY11" fmla="*/ 0 h 629817"/>
                  <a:gd name="connsiteX12" fmla="*/ 1222373 w 1793873"/>
                  <a:gd name="connsiteY12" fmla="*/ 0 h 629817"/>
                  <a:gd name="connsiteX13" fmla="*/ 1257524 w 1793873"/>
                  <a:gd name="connsiteY13" fmla="*/ 0 h 629817"/>
                  <a:gd name="connsiteX14" fmla="*/ 1623589 w 1793873"/>
                  <a:gd name="connsiteY14" fmla="*/ 0 h 629817"/>
                  <a:gd name="connsiteX15" fmla="*/ 1793873 w 1793873"/>
                  <a:gd name="connsiteY15" fmla="*/ 170284 h 629817"/>
                  <a:gd name="connsiteX16" fmla="*/ 1793873 w 1793873"/>
                  <a:gd name="connsiteY16" fmla="*/ 459533 h 629817"/>
                  <a:gd name="connsiteX17" fmla="*/ 1623589 w 1793873"/>
                  <a:gd name="connsiteY17" fmla="*/ 629817 h 629817"/>
                  <a:gd name="connsiteX18" fmla="*/ 1222373 w 1793873"/>
                  <a:gd name="connsiteY18" fmla="*/ 629817 h 629817"/>
                  <a:gd name="connsiteX19" fmla="*/ 1052089 w 1793873"/>
                  <a:gd name="connsiteY19" fmla="*/ 459533 h 629817"/>
                  <a:gd name="connsiteX20" fmla="*/ 1052089 w 1793873"/>
                  <a:gd name="connsiteY20" fmla="*/ 269867 h 629817"/>
                  <a:gd name="connsiteX21" fmla="*/ 1019448 w 1793873"/>
                  <a:gd name="connsiteY21" fmla="*/ 238597 h 629817"/>
                  <a:gd name="connsiteX22" fmla="*/ 772480 w 1793873"/>
                  <a:gd name="connsiteY22" fmla="*/ 239651 h 629817"/>
                  <a:gd name="connsiteX23" fmla="*/ 741784 w 1793873"/>
                  <a:gd name="connsiteY23" fmla="*/ 272720 h 629817"/>
                  <a:gd name="connsiteX24" fmla="*/ 741784 w 1793873"/>
                  <a:gd name="connsiteY24" fmla="*/ 459533 h 629817"/>
                  <a:gd name="connsiteX25" fmla="*/ 571500 w 1793873"/>
                  <a:gd name="connsiteY25" fmla="*/ 629817 h 629817"/>
                  <a:gd name="connsiteX26" fmla="*/ 170284 w 1793873"/>
                  <a:gd name="connsiteY26" fmla="*/ 629817 h 629817"/>
                  <a:gd name="connsiteX27" fmla="*/ 0 w 1793873"/>
                  <a:gd name="connsiteY27" fmla="*/ 459533 h 629817"/>
                  <a:gd name="connsiteX28" fmla="*/ 0 w 1793873"/>
                  <a:gd name="connsiteY28" fmla="*/ 170284 h 629817"/>
                  <a:gd name="connsiteX29" fmla="*/ 170284 w 1793873"/>
                  <a:gd name="connsiteY29" fmla="*/ 0 h 62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793873" h="629817">
                    <a:moveTo>
                      <a:pt x="1199486" y="158945"/>
                    </a:moveTo>
                    <a:lnTo>
                      <a:pt x="1199486" y="508195"/>
                    </a:lnTo>
                    <a:lnTo>
                      <a:pt x="1637636" y="508195"/>
                    </a:lnTo>
                    <a:lnTo>
                      <a:pt x="1637636" y="158945"/>
                    </a:lnTo>
                    <a:close/>
                    <a:moveTo>
                      <a:pt x="151165" y="158945"/>
                    </a:moveTo>
                    <a:lnTo>
                      <a:pt x="151165" y="508195"/>
                    </a:lnTo>
                    <a:lnTo>
                      <a:pt x="589315" y="508195"/>
                    </a:lnTo>
                    <a:lnTo>
                      <a:pt x="589315" y="158945"/>
                    </a:lnTo>
                    <a:close/>
                    <a:moveTo>
                      <a:pt x="170284" y="0"/>
                    </a:moveTo>
                    <a:lnTo>
                      <a:pt x="571500" y="0"/>
                    </a:lnTo>
                    <a:lnTo>
                      <a:pt x="580706" y="1859"/>
                    </a:lnTo>
                    <a:lnTo>
                      <a:pt x="580706" y="0"/>
                    </a:lnTo>
                    <a:lnTo>
                      <a:pt x="1222373" y="0"/>
                    </a:lnTo>
                    <a:lnTo>
                      <a:pt x="1257524" y="0"/>
                    </a:lnTo>
                    <a:lnTo>
                      <a:pt x="1623589" y="0"/>
                    </a:lnTo>
                    <a:cubicBezTo>
                      <a:pt x="1717634" y="0"/>
                      <a:pt x="1793873" y="76239"/>
                      <a:pt x="1793873" y="170284"/>
                    </a:cubicBezTo>
                    <a:lnTo>
                      <a:pt x="1793873" y="459533"/>
                    </a:lnTo>
                    <a:cubicBezTo>
                      <a:pt x="1793873" y="553578"/>
                      <a:pt x="1717634" y="629817"/>
                      <a:pt x="1623589" y="629817"/>
                    </a:cubicBezTo>
                    <a:lnTo>
                      <a:pt x="1222373" y="629817"/>
                    </a:lnTo>
                    <a:cubicBezTo>
                      <a:pt x="1128328" y="629817"/>
                      <a:pt x="1052089" y="553578"/>
                      <a:pt x="1052089" y="459533"/>
                    </a:cubicBezTo>
                    <a:lnTo>
                      <a:pt x="1052089" y="269867"/>
                    </a:lnTo>
                    <a:lnTo>
                      <a:pt x="1019448" y="238597"/>
                    </a:lnTo>
                    <a:cubicBezTo>
                      <a:pt x="940178" y="175104"/>
                      <a:pt x="842604" y="178661"/>
                      <a:pt x="772480" y="239651"/>
                    </a:cubicBezTo>
                    <a:lnTo>
                      <a:pt x="741784" y="272720"/>
                    </a:lnTo>
                    <a:lnTo>
                      <a:pt x="741784" y="459533"/>
                    </a:lnTo>
                    <a:cubicBezTo>
                      <a:pt x="741784" y="553578"/>
                      <a:pt x="665545" y="629817"/>
                      <a:pt x="571500" y="629817"/>
                    </a:cubicBezTo>
                    <a:lnTo>
                      <a:pt x="170284" y="629817"/>
                    </a:lnTo>
                    <a:cubicBezTo>
                      <a:pt x="76239" y="629817"/>
                      <a:pt x="0" y="553578"/>
                      <a:pt x="0" y="459533"/>
                    </a:cubicBezTo>
                    <a:lnTo>
                      <a:pt x="0" y="170284"/>
                    </a:lnTo>
                    <a:cubicBezTo>
                      <a:pt x="0" y="76239"/>
                      <a:pt x="76239" y="0"/>
                      <a:pt x="170284" y="0"/>
                    </a:cubicBezTo>
                    <a:close/>
                  </a:path>
                </a:pathLst>
              </a:custGeom>
              <a:solidFill>
                <a:schemeClr val="bg2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881">
                  <a:defRPr/>
                </a:pPr>
                <a:endParaRPr lang="en-IN" kern="0" dirty="0">
                  <a:solidFill>
                    <a:prstClr val="white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>
            <a:off x="7115271" y="3427535"/>
            <a:ext cx="1796576" cy="1006077"/>
            <a:chOff x="5004633" y="4648758"/>
            <a:chExt cx="2331508" cy="1134420"/>
          </a:xfrm>
          <a:solidFill>
            <a:schemeClr val="accent2"/>
          </a:solidFill>
        </p:grpSpPr>
        <p:sp>
          <p:nvSpPr>
            <p:cNvPr id="20" name="TextBox 19"/>
            <p:cNvSpPr txBox="1"/>
            <p:nvPr/>
          </p:nvSpPr>
          <p:spPr>
            <a:xfrm>
              <a:off x="5004633" y="5316876"/>
              <a:ext cx="2331508" cy="4663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31881">
                <a:defRPr/>
              </a:pPr>
              <a:r>
                <a:rPr lang="en-US" sz="14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Developer</a:t>
              </a:r>
            </a:p>
          </p:txBody>
        </p:sp>
        <p:grpSp>
          <p:nvGrpSpPr>
            <p:cNvPr id="21" name="Group 20"/>
            <p:cNvGrpSpPr>
              <a:grpSpLocks noChangeAspect="1"/>
            </p:cNvGrpSpPr>
            <p:nvPr/>
          </p:nvGrpSpPr>
          <p:grpSpPr>
            <a:xfrm>
              <a:off x="5847032" y="4648758"/>
              <a:ext cx="573864" cy="594358"/>
              <a:chOff x="3666777" y="2914650"/>
              <a:chExt cx="637627" cy="660397"/>
            </a:xfrm>
            <a:grpFill/>
          </p:grpSpPr>
          <p:sp>
            <p:nvSpPr>
              <p:cNvPr id="22" name="Oval 21"/>
              <p:cNvSpPr/>
              <p:nvPr/>
            </p:nvSpPr>
            <p:spPr>
              <a:xfrm>
                <a:off x="3913881" y="2914650"/>
                <a:ext cx="273051" cy="273050"/>
              </a:xfrm>
              <a:prstGeom prst="ellipse">
                <a:avLst/>
              </a:pr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881">
                  <a:defRPr/>
                </a:pPr>
                <a:endParaRPr lang="en-IN" sz="1836" kern="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3" name="Freeform 94"/>
              <p:cNvSpPr/>
              <p:nvPr/>
            </p:nvSpPr>
            <p:spPr>
              <a:xfrm>
                <a:off x="3747717" y="3201605"/>
                <a:ext cx="556687" cy="373442"/>
              </a:xfrm>
              <a:custGeom>
                <a:avLst/>
                <a:gdLst>
                  <a:gd name="connsiteX0" fmla="*/ 34925 w 558800"/>
                  <a:gd name="connsiteY0" fmla="*/ 266700 h 371475"/>
                  <a:gd name="connsiteX1" fmla="*/ 203200 w 558800"/>
                  <a:gd name="connsiteY1" fmla="*/ 250825 h 371475"/>
                  <a:gd name="connsiteX2" fmla="*/ 260350 w 558800"/>
                  <a:gd name="connsiteY2" fmla="*/ 73025 h 371475"/>
                  <a:gd name="connsiteX3" fmla="*/ 320675 w 558800"/>
                  <a:gd name="connsiteY3" fmla="*/ 15875 h 371475"/>
                  <a:gd name="connsiteX4" fmla="*/ 419100 w 558800"/>
                  <a:gd name="connsiteY4" fmla="*/ 0 h 371475"/>
                  <a:gd name="connsiteX5" fmla="*/ 501650 w 558800"/>
                  <a:gd name="connsiteY5" fmla="*/ 44450 h 371475"/>
                  <a:gd name="connsiteX6" fmla="*/ 536575 w 558800"/>
                  <a:gd name="connsiteY6" fmla="*/ 98425 h 371475"/>
                  <a:gd name="connsiteX7" fmla="*/ 558800 w 558800"/>
                  <a:gd name="connsiteY7" fmla="*/ 346075 h 371475"/>
                  <a:gd name="connsiteX8" fmla="*/ 349250 w 558800"/>
                  <a:gd name="connsiteY8" fmla="*/ 355600 h 371475"/>
                  <a:gd name="connsiteX9" fmla="*/ 346075 w 558800"/>
                  <a:gd name="connsiteY9" fmla="*/ 349250 h 371475"/>
                  <a:gd name="connsiteX10" fmla="*/ 415925 w 558800"/>
                  <a:gd name="connsiteY10" fmla="*/ 196850 h 371475"/>
                  <a:gd name="connsiteX11" fmla="*/ 412750 w 558800"/>
                  <a:gd name="connsiteY11" fmla="*/ 184150 h 371475"/>
                  <a:gd name="connsiteX12" fmla="*/ 381000 w 558800"/>
                  <a:gd name="connsiteY12" fmla="*/ 187325 h 371475"/>
                  <a:gd name="connsiteX13" fmla="*/ 301625 w 558800"/>
                  <a:gd name="connsiteY13" fmla="*/ 365125 h 371475"/>
                  <a:gd name="connsiteX14" fmla="*/ 28575 w 558800"/>
                  <a:gd name="connsiteY14" fmla="*/ 371475 h 371475"/>
                  <a:gd name="connsiteX15" fmla="*/ 0 w 558800"/>
                  <a:gd name="connsiteY15" fmla="*/ 336550 h 371475"/>
                  <a:gd name="connsiteX16" fmla="*/ 34925 w 558800"/>
                  <a:gd name="connsiteY16" fmla="*/ 266700 h 371475"/>
                  <a:gd name="connsiteX0" fmla="*/ 34925 w 558800"/>
                  <a:gd name="connsiteY0" fmla="*/ 266700 h 371475"/>
                  <a:gd name="connsiteX1" fmla="*/ 203200 w 558800"/>
                  <a:gd name="connsiteY1" fmla="*/ 250825 h 371475"/>
                  <a:gd name="connsiteX2" fmla="*/ 260350 w 558800"/>
                  <a:gd name="connsiteY2" fmla="*/ 73025 h 371475"/>
                  <a:gd name="connsiteX3" fmla="*/ 419100 w 558800"/>
                  <a:gd name="connsiteY3" fmla="*/ 0 h 371475"/>
                  <a:gd name="connsiteX4" fmla="*/ 501650 w 558800"/>
                  <a:gd name="connsiteY4" fmla="*/ 44450 h 371475"/>
                  <a:gd name="connsiteX5" fmla="*/ 536575 w 558800"/>
                  <a:gd name="connsiteY5" fmla="*/ 98425 h 371475"/>
                  <a:gd name="connsiteX6" fmla="*/ 558800 w 558800"/>
                  <a:gd name="connsiteY6" fmla="*/ 346075 h 371475"/>
                  <a:gd name="connsiteX7" fmla="*/ 349250 w 558800"/>
                  <a:gd name="connsiteY7" fmla="*/ 355600 h 371475"/>
                  <a:gd name="connsiteX8" fmla="*/ 346075 w 558800"/>
                  <a:gd name="connsiteY8" fmla="*/ 349250 h 371475"/>
                  <a:gd name="connsiteX9" fmla="*/ 415925 w 558800"/>
                  <a:gd name="connsiteY9" fmla="*/ 196850 h 371475"/>
                  <a:gd name="connsiteX10" fmla="*/ 412750 w 558800"/>
                  <a:gd name="connsiteY10" fmla="*/ 184150 h 371475"/>
                  <a:gd name="connsiteX11" fmla="*/ 381000 w 558800"/>
                  <a:gd name="connsiteY11" fmla="*/ 187325 h 371475"/>
                  <a:gd name="connsiteX12" fmla="*/ 301625 w 558800"/>
                  <a:gd name="connsiteY12" fmla="*/ 365125 h 371475"/>
                  <a:gd name="connsiteX13" fmla="*/ 28575 w 558800"/>
                  <a:gd name="connsiteY13" fmla="*/ 371475 h 371475"/>
                  <a:gd name="connsiteX14" fmla="*/ 0 w 558800"/>
                  <a:gd name="connsiteY14" fmla="*/ 336550 h 371475"/>
                  <a:gd name="connsiteX15" fmla="*/ 34925 w 558800"/>
                  <a:gd name="connsiteY15" fmla="*/ 266700 h 371475"/>
                  <a:gd name="connsiteX0" fmla="*/ 34925 w 558800"/>
                  <a:gd name="connsiteY0" fmla="*/ 222250 h 327025"/>
                  <a:gd name="connsiteX1" fmla="*/ 203200 w 558800"/>
                  <a:gd name="connsiteY1" fmla="*/ 206375 h 327025"/>
                  <a:gd name="connsiteX2" fmla="*/ 260350 w 558800"/>
                  <a:gd name="connsiteY2" fmla="*/ 28575 h 327025"/>
                  <a:gd name="connsiteX3" fmla="*/ 501650 w 558800"/>
                  <a:gd name="connsiteY3" fmla="*/ 0 h 327025"/>
                  <a:gd name="connsiteX4" fmla="*/ 536575 w 558800"/>
                  <a:gd name="connsiteY4" fmla="*/ 53975 h 327025"/>
                  <a:gd name="connsiteX5" fmla="*/ 558800 w 558800"/>
                  <a:gd name="connsiteY5" fmla="*/ 301625 h 327025"/>
                  <a:gd name="connsiteX6" fmla="*/ 349250 w 558800"/>
                  <a:gd name="connsiteY6" fmla="*/ 311150 h 327025"/>
                  <a:gd name="connsiteX7" fmla="*/ 346075 w 558800"/>
                  <a:gd name="connsiteY7" fmla="*/ 304800 h 327025"/>
                  <a:gd name="connsiteX8" fmla="*/ 415925 w 558800"/>
                  <a:gd name="connsiteY8" fmla="*/ 152400 h 327025"/>
                  <a:gd name="connsiteX9" fmla="*/ 412750 w 558800"/>
                  <a:gd name="connsiteY9" fmla="*/ 139700 h 327025"/>
                  <a:gd name="connsiteX10" fmla="*/ 381000 w 558800"/>
                  <a:gd name="connsiteY10" fmla="*/ 142875 h 327025"/>
                  <a:gd name="connsiteX11" fmla="*/ 301625 w 558800"/>
                  <a:gd name="connsiteY11" fmla="*/ 320675 h 327025"/>
                  <a:gd name="connsiteX12" fmla="*/ 28575 w 558800"/>
                  <a:gd name="connsiteY12" fmla="*/ 327025 h 327025"/>
                  <a:gd name="connsiteX13" fmla="*/ 0 w 558800"/>
                  <a:gd name="connsiteY13" fmla="*/ 292100 h 327025"/>
                  <a:gd name="connsiteX14" fmla="*/ 34925 w 558800"/>
                  <a:gd name="connsiteY14" fmla="*/ 222250 h 327025"/>
                  <a:gd name="connsiteX0" fmla="*/ 34925 w 558800"/>
                  <a:gd name="connsiteY0" fmla="*/ 246288 h 351063"/>
                  <a:gd name="connsiteX1" fmla="*/ 203200 w 558800"/>
                  <a:gd name="connsiteY1" fmla="*/ 230413 h 351063"/>
                  <a:gd name="connsiteX2" fmla="*/ 260350 w 558800"/>
                  <a:gd name="connsiteY2" fmla="*/ 52613 h 351063"/>
                  <a:gd name="connsiteX3" fmla="*/ 501650 w 558800"/>
                  <a:gd name="connsiteY3" fmla="*/ 24038 h 351063"/>
                  <a:gd name="connsiteX4" fmla="*/ 536575 w 558800"/>
                  <a:gd name="connsiteY4" fmla="*/ 78013 h 351063"/>
                  <a:gd name="connsiteX5" fmla="*/ 558800 w 558800"/>
                  <a:gd name="connsiteY5" fmla="*/ 325663 h 351063"/>
                  <a:gd name="connsiteX6" fmla="*/ 349250 w 558800"/>
                  <a:gd name="connsiteY6" fmla="*/ 335188 h 351063"/>
                  <a:gd name="connsiteX7" fmla="*/ 346075 w 558800"/>
                  <a:gd name="connsiteY7" fmla="*/ 328838 h 351063"/>
                  <a:gd name="connsiteX8" fmla="*/ 415925 w 558800"/>
                  <a:gd name="connsiteY8" fmla="*/ 176438 h 351063"/>
                  <a:gd name="connsiteX9" fmla="*/ 412750 w 558800"/>
                  <a:gd name="connsiteY9" fmla="*/ 163738 h 351063"/>
                  <a:gd name="connsiteX10" fmla="*/ 381000 w 558800"/>
                  <a:gd name="connsiteY10" fmla="*/ 166913 h 351063"/>
                  <a:gd name="connsiteX11" fmla="*/ 301625 w 558800"/>
                  <a:gd name="connsiteY11" fmla="*/ 344713 h 351063"/>
                  <a:gd name="connsiteX12" fmla="*/ 28575 w 558800"/>
                  <a:gd name="connsiteY12" fmla="*/ 351063 h 351063"/>
                  <a:gd name="connsiteX13" fmla="*/ 0 w 558800"/>
                  <a:gd name="connsiteY13" fmla="*/ 316138 h 351063"/>
                  <a:gd name="connsiteX14" fmla="*/ 34925 w 558800"/>
                  <a:gd name="connsiteY14" fmla="*/ 246288 h 351063"/>
                  <a:gd name="connsiteX0" fmla="*/ 34925 w 558800"/>
                  <a:gd name="connsiteY0" fmla="*/ 263928 h 368703"/>
                  <a:gd name="connsiteX1" fmla="*/ 203200 w 558800"/>
                  <a:gd name="connsiteY1" fmla="*/ 248053 h 368703"/>
                  <a:gd name="connsiteX2" fmla="*/ 260350 w 558800"/>
                  <a:gd name="connsiteY2" fmla="*/ 70253 h 368703"/>
                  <a:gd name="connsiteX3" fmla="*/ 501650 w 558800"/>
                  <a:gd name="connsiteY3" fmla="*/ 41678 h 368703"/>
                  <a:gd name="connsiteX4" fmla="*/ 536575 w 558800"/>
                  <a:gd name="connsiteY4" fmla="*/ 95653 h 368703"/>
                  <a:gd name="connsiteX5" fmla="*/ 558800 w 558800"/>
                  <a:gd name="connsiteY5" fmla="*/ 343303 h 368703"/>
                  <a:gd name="connsiteX6" fmla="*/ 349250 w 558800"/>
                  <a:gd name="connsiteY6" fmla="*/ 352828 h 368703"/>
                  <a:gd name="connsiteX7" fmla="*/ 346075 w 558800"/>
                  <a:gd name="connsiteY7" fmla="*/ 346478 h 368703"/>
                  <a:gd name="connsiteX8" fmla="*/ 415925 w 558800"/>
                  <a:gd name="connsiteY8" fmla="*/ 194078 h 368703"/>
                  <a:gd name="connsiteX9" fmla="*/ 412750 w 558800"/>
                  <a:gd name="connsiteY9" fmla="*/ 181378 h 368703"/>
                  <a:gd name="connsiteX10" fmla="*/ 381000 w 558800"/>
                  <a:gd name="connsiteY10" fmla="*/ 184553 h 368703"/>
                  <a:gd name="connsiteX11" fmla="*/ 301625 w 558800"/>
                  <a:gd name="connsiteY11" fmla="*/ 362353 h 368703"/>
                  <a:gd name="connsiteX12" fmla="*/ 28575 w 558800"/>
                  <a:gd name="connsiteY12" fmla="*/ 368703 h 368703"/>
                  <a:gd name="connsiteX13" fmla="*/ 0 w 558800"/>
                  <a:gd name="connsiteY13" fmla="*/ 333778 h 368703"/>
                  <a:gd name="connsiteX14" fmla="*/ 34925 w 558800"/>
                  <a:gd name="connsiteY14" fmla="*/ 263928 h 368703"/>
                  <a:gd name="connsiteX0" fmla="*/ 34925 w 558800"/>
                  <a:gd name="connsiteY0" fmla="*/ 263928 h 368703"/>
                  <a:gd name="connsiteX1" fmla="*/ 203200 w 558800"/>
                  <a:gd name="connsiteY1" fmla="*/ 248053 h 368703"/>
                  <a:gd name="connsiteX2" fmla="*/ 260350 w 558800"/>
                  <a:gd name="connsiteY2" fmla="*/ 70253 h 368703"/>
                  <a:gd name="connsiteX3" fmla="*/ 501650 w 558800"/>
                  <a:gd name="connsiteY3" fmla="*/ 41678 h 368703"/>
                  <a:gd name="connsiteX4" fmla="*/ 558800 w 558800"/>
                  <a:gd name="connsiteY4" fmla="*/ 343303 h 368703"/>
                  <a:gd name="connsiteX5" fmla="*/ 349250 w 558800"/>
                  <a:gd name="connsiteY5" fmla="*/ 352828 h 368703"/>
                  <a:gd name="connsiteX6" fmla="*/ 346075 w 558800"/>
                  <a:gd name="connsiteY6" fmla="*/ 346478 h 368703"/>
                  <a:gd name="connsiteX7" fmla="*/ 415925 w 558800"/>
                  <a:gd name="connsiteY7" fmla="*/ 194078 h 368703"/>
                  <a:gd name="connsiteX8" fmla="*/ 412750 w 558800"/>
                  <a:gd name="connsiteY8" fmla="*/ 181378 h 368703"/>
                  <a:gd name="connsiteX9" fmla="*/ 381000 w 558800"/>
                  <a:gd name="connsiteY9" fmla="*/ 184553 h 368703"/>
                  <a:gd name="connsiteX10" fmla="*/ 301625 w 558800"/>
                  <a:gd name="connsiteY10" fmla="*/ 362353 h 368703"/>
                  <a:gd name="connsiteX11" fmla="*/ 28575 w 558800"/>
                  <a:gd name="connsiteY11" fmla="*/ 368703 h 368703"/>
                  <a:gd name="connsiteX12" fmla="*/ 0 w 558800"/>
                  <a:gd name="connsiteY12" fmla="*/ 333778 h 368703"/>
                  <a:gd name="connsiteX13" fmla="*/ 34925 w 558800"/>
                  <a:gd name="connsiteY13" fmla="*/ 263928 h 368703"/>
                  <a:gd name="connsiteX0" fmla="*/ 34925 w 558800"/>
                  <a:gd name="connsiteY0" fmla="*/ 263928 h 368703"/>
                  <a:gd name="connsiteX1" fmla="*/ 203200 w 558800"/>
                  <a:gd name="connsiteY1" fmla="*/ 248053 h 368703"/>
                  <a:gd name="connsiteX2" fmla="*/ 260350 w 558800"/>
                  <a:gd name="connsiteY2" fmla="*/ 70253 h 368703"/>
                  <a:gd name="connsiteX3" fmla="*/ 501650 w 558800"/>
                  <a:gd name="connsiteY3" fmla="*/ 41678 h 368703"/>
                  <a:gd name="connsiteX4" fmla="*/ 558800 w 558800"/>
                  <a:gd name="connsiteY4" fmla="*/ 343303 h 368703"/>
                  <a:gd name="connsiteX5" fmla="*/ 349250 w 558800"/>
                  <a:gd name="connsiteY5" fmla="*/ 352828 h 368703"/>
                  <a:gd name="connsiteX6" fmla="*/ 346075 w 558800"/>
                  <a:gd name="connsiteY6" fmla="*/ 346478 h 368703"/>
                  <a:gd name="connsiteX7" fmla="*/ 415925 w 558800"/>
                  <a:gd name="connsiteY7" fmla="*/ 194078 h 368703"/>
                  <a:gd name="connsiteX8" fmla="*/ 412750 w 558800"/>
                  <a:gd name="connsiteY8" fmla="*/ 181378 h 368703"/>
                  <a:gd name="connsiteX9" fmla="*/ 381000 w 558800"/>
                  <a:gd name="connsiteY9" fmla="*/ 184553 h 368703"/>
                  <a:gd name="connsiteX10" fmla="*/ 301625 w 558800"/>
                  <a:gd name="connsiteY10" fmla="*/ 362353 h 368703"/>
                  <a:gd name="connsiteX11" fmla="*/ 28575 w 558800"/>
                  <a:gd name="connsiteY11" fmla="*/ 368703 h 368703"/>
                  <a:gd name="connsiteX12" fmla="*/ 0 w 558800"/>
                  <a:gd name="connsiteY12" fmla="*/ 333778 h 368703"/>
                  <a:gd name="connsiteX13" fmla="*/ 34925 w 558800"/>
                  <a:gd name="connsiteY13" fmla="*/ 263928 h 368703"/>
                  <a:gd name="connsiteX0" fmla="*/ 34925 w 558800"/>
                  <a:gd name="connsiteY0" fmla="*/ 263928 h 368703"/>
                  <a:gd name="connsiteX1" fmla="*/ 203200 w 558800"/>
                  <a:gd name="connsiteY1" fmla="*/ 248053 h 368703"/>
                  <a:gd name="connsiteX2" fmla="*/ 260350 w 558800"/>
                  <a:gd name="connsiteY2" fmla="*/ 70253 h 368703"/>
                  <a:gd name="connsiteX3" fmla="*/ 501650 w 558800"/>
                  <a:gd name="connsiteY3" fmla="*/ 41678 h 368703"/>
                  <a:gd name="connsiteX4" fmla="*/ 558800 w 558800"/>
                  <a:gd name="connsiteY4" fmla="*/ 343303 h 368703"/>
                  <a:gd name="connsiteX5" fmla="*/ 349250 w 558800"/>
                  <a:gd name="connsiteY5" fmla="*/ 352828 h 368703"/>
                  <a:gd name="connsiteX6" fmla="*/ 346075 w 558800"/>
                  <a:gd name="connsiteY6" fmla="*/ 346478 h 368703"/>
                  <a:gd name="connsiteX7" fmla="*/ 415925 w 558800"/>
                  <a:gd name="connsiteY7" fmla="*/ 194078 h 368703"/>
                  <a:gd name="connsiteX8" fmla="*/ 412750 w 558800"/>
                  <a:gd name="connsiteY8" fmla="*/ 181378 h 368703"/>
                  <a:gd name="connsiteX9" fmla="*/ 381000 w 558800"/>
                  <a:gd name="connsiteY9" fmla="*/ 184553 h 368703"/>
                  <a:gd name="connsiteX10" fmla="*/ 301625 w 558800"/>
                  <a:gd name="connsiteY10" fmla="*/ 362353 h 368703"/>
                  <a:gd name="connsiteX11" fmla="*/ 28575 w 558800"/>
                  <a:gd name="connsiteY11" fmla="*/ 368703 h 368703"/>
                  <a:gd name="connsiteX12" fmla="*/ 0 w 558800"/>
                  <a:gd name="connsiteY12" fmla="*/ 333778 h 368703"/>
                  <a:gd name="connsiteX13" fmla="*/ 34925 w 558800"/>
                  <a:gd name="connsiteY13" fmla="*/ 263928 h 368703"/>
                  <a:gd name="connsiteX0" fmla="*/ 34925 w 558800"/>
                  <a:gd name="connsiteY0" fmla="*/ 263928 h 368703"/>
                  <a:gd name="connsiteX1" fmla="*/ 203200 w 558800"/>
                  <a:gd name="connsiteY1" fmla="*/ 248053 h 368703"/>
                  <a:gd name="connsiteX2" fmla="*/ 260350 w 558800"/>
                  <a:gd name="connsiteY2" fmla="*/ 70253 h 368703"/>
                  <a:gd name="connsiteX3" fmla="*/ 501650 w 558800"/>
                  <a:gd name="connsiteY3" fmla="*/ 41678 h 368703"/>
                  <a:gd name="connsiteX4" fmla="*/ 558800 w 558800"/>
                  <a:gd name="connsiteY4" fmla="*/ 343303 h 368703"/>
                  <a:gd name="connsiteX5" fmla="*/ 349250 w 558800"/>
                  <a:gd name="connsiteY5" fmla="*/ 352828 h 368703"/>
                  <a:gd name="connsiteX6" fmla="*/ 346075 w 558800"/>
                  <a:gd name="connsiteY6" fmla="*/ 346478 h 368703"/>
                  <a:gd name="connsiteX7" fmla="*/ 415925 w 558800"/>
                  <a:gd name="connsiteY7" fmla="*/ 194078 h 368703"/>
                  <a:gd name="connsiteX8" fmla="*/ 381000 w 558800"/>
                  <a:gd name="connsiteY8" fmla="*/ 184553 h 368703"/>
                  <a:gd name="connsiteX9" fmla="*/ 301625 w 558800"/>
                  <a:gd name="connsiteY9" fmla="*/ 362353 h 368703"/>
                  <a:gd name="connsiteX10" fmla="*/ 28575 w 558800"/>
                  <a:gd name="connsiteY10" fmla="*/ 368703 h 368703"/>
                  <a:gd name="connsiteX11" fmla="*/ 0 w 558800"/>
                  <a:gd name="connsiteY11" fmla="*/ 333778 h 368703"/>
                  <a:gd name="connsiteX12" fmla="*/ 34925 w 558800"/>
                  <a:gd name="connsiteY12" fmla="*/ 263928 h 368703"/>
                  <a:gd name="connsiteX0" fmla="*/ 6350 w 530225"/>
                  <a:gd name="connsiteY0" fmla="*/ 263928 h 368703"/>
                  <a:gd name="connsiteX1" fmla="*/ 174625 w 530225"/>
                  <a:gd name="connsiteY1" fmla="*/ 248053 h 368703"/>
                  <a:gd name="connsiteX2" fmla="*/ 231775 w 530225"/>
                  <a:gd name="connsiteY2" fmla="*/ 70253 h 368703"/>
                  <a:gd name="connsiteX3" fmla="*/ 473075 w 530225"/>
                  <a:gd name="connsiteY3" fmla="*/ 41678 h 368703"/>
                  <a:gd name="connsiteX4" fmla="*/ 530225 w 530225"/>
                  <a:gd name="connsiteY4" fmla="*/ 343303 h 368703"/>
                  <a:gd name="connsiteX5" fmla="*/ 320675 w 530225"/>
                  <a:gd name="connsiteY5" fmla="*/ 352828 h 368703"/>
                  <a:gd name="connsiteX6" fmla="*/ 317500 w 530225"/>
                  <a:gd name="connsiteY6" fmla="*/ 346478 h 368703"/>
                  <a:gd name="connsiteX7" fmla="*/ 387350 w 530225"/>
                  <a:gd name="connsiteY7" fmla="*/ 194078 h 368703"/>
                  <a:gd name="connsiteX8" fmla="*/ 352425 w 530225"/>
                  <a:gd name="connsiteY8" fmla="*/ 184553 h 368703"/>
                  <a:gd name="connsiteX9" fmla="*/ 273050 w 530225"/>
                  <a:gd name="connsiteY9" fmla="*/ 362353 h 368703"/>
                  <a:gd name="connsiteX10" fmla="*/ 0 w 530225"/>
                  <a:gd name="connsiteY10" fmla="*/ 368703 h 368703"/>
                  <a:gd name="connsiteX11" fmla="*/ 6350 w 530225"/>
                  <a:gd name="connsiteY11" fmla="*/ 263928 h 368703"/>
                  <a:gd name="connsiteX0" fmla="*/ 28984 w 552859"/>
                  <a:gd name="connsiteY0" fmla="*/ 263928 h 368703"/>
                  <a:gd name="connsiteX1" fmla="*/ 197259 w 552859"/>
                  <a:gd name="connsiteY1" fmla="*/ 248053 h 368703"/>
                  <a:gd name="connsiteX2" fmla="*/ 254409 w 552859"/>
                  <a:gd name="connsiteY2" fmla="*/ 70253 h 368703"/>
                  <a:gd name="connsiteX3" fmla="*/ 495709 w 552859"/>
                  <a:gd name="connsiteY3" fmla="*/ 41678 h 368703"/>
                  <a:gd name="connsiteX4" fmla="*/ 552859 w 552859"/>
                  <a:gd name="connsiteY4" fmla="*/ 343303 h 368703"/>
                  <a:gd name="connsiteX5" fmla="*/ 343309 w 552859"/>
                  <a:gd name="connsiteY5" fmla="*/ 352828 h 368703"/>
                  <a:gd name="connsiteX6" fmla="*/ 340134 w 552859"/>
                  <a:gd name="connsiteY6" fmla="*/ 346478 h 368703"/>
                  <a:gd name="connsiteX7" fmla="*/ 409984 w 552859"/>
                  <a:gd name="connsiteY7" fmla="*/ 194078 h 368703"/>
                  <a:gd name="connsiteX8" fmla="*/ 375059 w 552859"/>
                  <a:gd name="connsiteY8" fmla="*/ 184553 h 368703"/>
                  <a:gd name="connsiteX9" fmla="*/ 295684 w 552859"/>
                  <a:gd name="connsiteY9" fmla="*/ 362353 h 368703"/>
                  <a:gd name="connsiteX10" fmla="*/ 22634 w 552859"/>
                  <a:gd name="connsiteY10" fmla="*/ 368703 h 368703"/>
                  <a:gd name="connsiteX11" fmla="*/ 28984 w 552859"/>
                  <a:gd name="connsiteY11" fmla="*/ 263928 h 368703"/>
                  <a:gd name="connsiteX0" fmla="*/ 35058 w 558933"/>
                  <a:gd name="connsiteY0" fmla="*/ 263928 h 369620"/>
                  <a:gd name="connsiteX1" fmla="*/ 203333 w 558933"/>
                  <a:gd name="connsiteY1" fmla="*/ 248053 h 369620"/>
                  <a:gd name="connsiteX2" fmla="*/ 260483 w 558933"/>
                  <a:gd name="connsiteY2" fmla="*/ 70253 h 369620"/>
                  <a:gd name="connsiteX3" fmla="*/ 501783 w 558933"/>
                  <a:gd name="connsiteY3" fmla="*/ 41678 h 369620"/>
                  <a:gd name="connsiteX4" fmla="*/ 558933 w 558933"/>
                  <a:gd name="connsiteY4" fmla="*/ 343303 h 369620"/>
                  <a:gd name="connsiteX5" fmla="*/ 349383 w 558933"/>
                  <a:gd name="connsiteY5" fmla="*/ 352828 h 369620"/>
                  <a:gd name="connsiteX6" fmla="*/ 346208 w 558933"/>
                  <a:gd name="connsiteY6" fmla="*/ 346478 h 369620"/>
                  <a:gd name="connsiteX7" fmla="*/ 416058 w 558933"/>
                  <a:gd name="connsiteY7" fmla="*/ 194078 h 369620"/>
                  <a:gd name="connsiteX8" fmla="*/ 381133 w 558933"/>
                  <a:gd name="connsiteY8" fmla="*/ 184553 h 369620"/>
                  <a:gd name="connsiteX9" fmla="*/ 301758 w 558933"/>
                  <a:gd name="connsiteY9" fmla="*/ 362353 h 369620"/>
                  <a:gd name="connsiteX10" fmla="*/ 28708 w 558933"/>
                  <a:gd name="connsiteY10" fmla="*/ 368703 h 369620"/>
                  <a:gd name="connsiteX11" fmla="*/ 35058 w 558933"/>
                  <a:gd name="connsiteY11" fmla="*/ 263928 h 369620"/>
                  <a:gd name="connsiteX0" fmla="*/ 38101 w 561976"/>
                  <a:gd name="connsiteY0" fmla="*/ 263928 h 368703"/>
                  <a:gd name="connsiteX1" fmla="*/ 206376 w 561976"/>
                  <a:gd name="connsiteY1" fmla="*/ 248053 h 368703"/>
                  <a:gd name="connsiteX2" fmla="*/ 263526 w 561976"/>
                  <a:gd name="connsiteY2" fmla="*/ 70253 h 368703"/>
                  <a:gd name="connsiteX3" fmla="*/ 504826 w 561976"/>
                  <a:gd name="connsiteY3" fmla="*/ 41678 h 368703"/>
                  <a:gd name="connsiteX4" fmla="*/ 561976 w 561976"/>
                  <a:gd name="connsiteY4" fmla="*/ 343303 h 368703"/>
                  <a:gd name="connsiteX5" fmla="*/ 352426 w 561976"/>
                  <a:gd name="connsiteY5" fmla="*/ 352828 h 368703"/>
                  <a:gd name="connsiteX6" fmla="*/ 349251 w 561976"/>
                  <a:gd name="connsiteY6" fmla="*/ 346478 h 368703"/>
                  <a:gd name="connsiteX7" fmla="*/ 419101 w 561976"/>
                  <a:gd name="connsiteY7" fmla="*/ 194078 h 368703"/>
                  <a:gd name="connsiteX8" fmla="*/ 384176 w 561976"/>
                  <a:gd name="connsiteY8" fmla="*/ 184553 h 368703"/>
                  <a:gd name="connsiteX9" fmla="*/ 304801 w 561976"/>
                  <a:gd name="connsiteY9" fmla="*/ 362353 h 368703"/>
                  <a:gd name="connsiteX10" fmla="*/ 31751 w 561976"/>
                  <a:gd name="connsiteY10" fmla="*/ 368703 h 368703"/>
                  <a:gd name="connsiteX11" fmla="*/ 38101 w 561976"/>
                  <a:gd name="connsiteY11" fmla="*/ 263928 h 368703"/>
                  <a:gd name="connsiteX0" fmla="*/ 35796 w 559671"/>
                  <a:gd name="connsiteY0" fmla="*/ 263928 h 368703"/>
                  <a:gd name="connsiteX1" fmla="*/ 204071 w 559671"/>
                  <a:gd name="connsiteY1" fmla="*/ 248053 h 368703"/>
                  <a:gd name="connsiteX2" fmla="*/ 261221 w 559671"/>
                  <a:gd name="connsiteY2" fmla="*/ 70253 h 368703"/>
                  <a:gd name="connsiteX3" fmla="*/ 502521 w 559671"/>
                  <a:gd name="connsiteY3" fmla="*/ 41678 h 368703"/>
                  <a:gd name="connsiteX4" fmla="*/ 559671 w 559671"/>
                  <a:gd name="connsiteY4" fmla="*/ 343303 h 368703"/>
                  <a:gd name="connsiteX5" fmla="*/ 350121 w 559671"/>
                  <a:gd name="connsiteY5" fmla="*/ 352828 h 368703"/>
                  <a:gd name="connsiteX6" fmla="*/ 346946 w 559671"/>
                  <a:gd name="connsiteY6" fmla="*/ 346478 h 368703"/>
                  <a:gd name="connsiteX7" fmla="*/ 416796 w 559671"/>
                  <a:gd name="connsiteY7" fmla="*/ 194078 h 368703"/>
                  <a:gd name="connsiteX8" fmla="*/ 381871 w 559671"/>
                  <a:gd name="connsiteY8" fmla="*/ 184553 h 368703"/>
                  <a:gd name="connsiteX9" fmla="*/ 302496 w 559671"/>
                  <a:gd name="connsiteY9" fmla="*/ 362353 h 368703"/>
                  <a:gd name="connsiteX10" fmla="*/ 29446 w 559671"/>
                  <a:gd name="connsiteY10" fmla="*/ 368703 h 368703"/>
                  <a:gd name="connsiteX11" fmla="*/ 35796 w 559671"/>
                  <a:gd name="connsiteY11" fmla="*/ 263928 h 368703"/>
                  <a:gd name="connsiteX0" fmla="*/ 33802 w 557677"/>
                  <a:gd name="connsiteY0" fmla="*/ 263928 h 368703"/>
                  <a:gd name="connsiteX1" fmla="*/ 202077 w 557677"/>
                  <a:gd name="connsiteY1" fmla="*/ 248053 h 368703"/>
                  <a:gd name="connsiteX2" fmla="*/ 259227 w 557677"/>
                  <a:gd name="connsiteY2" fmla="*/ 70253 h 368703"/>
                  <a:gd name="connsiteX3" fmla="*/ 500527 w 557677"/>
                  <a:gd name="connsiteY3" fmla="*/ 41678 h 368703"/>
                  <a:gd name="connsiteX4" fmla="*/ 557677 w 557677"/>
                  <a:gd name="connsiteY4" fmla="*/ 343303 h 368703"/>
                  <a:gd name="connsiteX5" fmla="*/ 348127 w 557677"/>
                  <a:gd name="connsiteY5" fmla="*/ 352828 h 368703"/>
                  <a:gd name="connsiteX6" fmla="*/ 344952 w 557677"/>
                  <a:gd name="connsiteY6" fmla="*/ 346478 h 368703"/>
                  <a:gd name="connsiteX7" fmla="*/ 414802 w 557677"/>
                  <a:gd name="connsiteY7" fmla="*/ 194078 h 368703"/>
                  <a:gd name="connsiteX8" fmla="*/ 379877 w 557677"/>
                  <a:gd name="connsiteY8" fmla="*/ 184553 h 368703"/>
                  <a:gd name="connsiteX9" fmla="*/ 300502 w 557677"/>
                  <a:gd name="connsiteY9" fmla="*/ 362353 h 368703"/>
                  <a:gd name="connsiteX10" fmla="*/ 27452 w 557677"/>
                  <a:gd name="connsiteY10" fmla="*/ 368703 h 368703"/>
                  <a:gd name="connsiteX11" fmla="*/ 33802 w 557677"/>
                  <a:gd name="connsiteY11" fmla="*/ 263928 h 368703"/>
                  <a:gd name="connsiteX0" fmla="*/ 32812 w 556687"/>
                  <a:gd name="connsiteY0" fmla="*/ 263928 h 368703"/>
                  <a:gd name="connsiteX1" fmla="*/ 201087 w 556687"/>
                  <a:gd name="connsiteY1" fmla="*/ 248053 h 368703"/>
                  <a:gd name="connsiteX2" fmla="*/ 258237 w 556687"/>
                  <a:gd name="connsiteY2" fmla="*/ 70253 h 368703"/>
                  <a:gd name="connsiteX3" fmla="*/ 499537 w 556687"/>
                  <a:gd name="connsiteY3" fmla="*/ 41678 h 368703"/>
                  <a:gd name="connsiteX4" fmla="*/ 556687 w 556687"/>
                  <a:gd name="connsiteY4" fmla="*/ 343303 h 368703"/>
                  <a:gd name="connsiteX5" fmla="*/ 347137 w 556687"/>
                  <a:gd name="connsiteY5" fmla="*/ 352828 h 368703"/>
                  <a:gd name="connsiteX6" fmla="*/ 343962 w 556687"/>
                  <a:gd name="connsiteY6" fmla="*/ 346478 h 368703"/>
                  <a:gd name="connsiteX7" fmla="*/ 413812 w 556687"/>
                  <a:gd name="connsiteY7" fmla="*/ 194078 h 368703"/>
                  <a:gd name="connsiteX8" fmla="*/ 378887 w 556687"/>
                  <a:gd name="connsiteY8" fmla="*/ 184553 h 368703"/>
                  <a:gd name="connsiteX9" fmla="*/ 299512 w 556687"/>
                  <a:gd name="connsiteY9" fmla="*/ 362353 h 368703"/>
                  <a:gd name="connsiteX10" fmla="*/ 26462 w 556687"/>
                  <a:gd name="connsiteY10" fmla="*/ 368703 h 368703"/>
                  <a:gd name="connsiteX11" fmla="*/ 32812 w 556687"/>
                  <a:gd name="connsiteY11" fmla="*/ 263928 h 368703"/>
                  <a:gd name="connsiteX0" fmla="*/ 32812 w 556687"/>
                  <a:gd name="connsiteY0" fmla="*/ 263928 h 368703"/>
                  <a:gd name="connsiteX1" fmla="*/ 201087 w 556687"/>
                  <a:gd name="connsiteY1" fmla="*/ 248053 h 368703"/>
                  <a:gd name="connsiteX2" fmla="*/ 258237 w 556687"/>
                  <a:gd name="connsiteY2" fmla="*/ 70253 h 368703"/>
                  <a:gd name="connsiteX3" fmla="*/ 499537 w 556687"/>
                  <a:gd name="connsiteY3" fmla="*/ 41678 h 368703"/>
                  <a:gd name="connsiteX4" fmla="*/ 556687 w 556687"/>
                  <a:gd name="connsiteY4" fmla="*/ 343303 h 368703"/>
                  <a:gd name="connsiteX5" fmla="*/ 347137 w 556687"/>
                  <a:gd name="connsiteY5" fmla="*/ 352828 h 368703"/>
                  <a:gd name="connsiteX6" fmla="*/ 413812 w 556687"/>
                  <a:gd name="connsiteY6" fmla="*/ 194078 h 368703"/>
                  <a:gd name="connsiteX7" fmla="*/ 378887 w 556687"/>
                  <a:gd name="connsiteY7" fmla="*/ 184553 h 368703"/>
                  <a:gd name="connsiteX8" fmla="*/ 299512 w 556687"/>
                  <a:gd name="connsiteY8" fmla="*/ 362353 h 368703"/>
                  <a:gd name="connsiteX9" fmla="*/ 26462 w 556687"/>
                  <a:gd name="connsiteY9" fmla="*/ 368703 h 368703"/>
                  <a:gd name="connsiteX10" fmla="*/ 32812 w 556687"/>
                  <a:gd name="connsiteY10" fmla="*/ 263928 h 368703"/>
                  <a:gd name="connsiteX0" fmla="*/ 32812 w 556687"/>
                  <a:gd name="connsiteY0" fmla="*/ 263928 h 368703"/>
                  <a:gd name="connsiteX1" fmla="*/ 201087 w 556687"/>
                  <a:gd name="connsiteY1" fmla="*/ 248053 h 368703"/>
                  <a:gd name="connsiteX2" fmla="*/ 258237 w 556687"/>
                  <a:gd name="connsiteY2" fmla="*/ 70253 h 368703"/>
                  <a:gd name="connsiteX3" fmla="*/ 499537 w 556687"/>
                  <a:gd name="connsiteY3" fmla="*/ 41678 h 368703"/>
                  <a:gd name="connsiteX4" fmla="*/ 556687 w 556687"/>
                  <a:gd name="connsiteY4" fmla="*/ 343303 h 368703"/>
                  <a:gd name="connsiteX5" fmla="*/ 347137 w 556687"/>
                  <a:gd name="connsiteY5" fmla="*/ 352828 h 368703"/>
                  <a:gd name="connsiteX6" fmla="*/ 413812 w 556687"/>
                  <a:gd name="connsiteY6" fmla="*/ 194078 h 368703"/>
                  <a:gd name="connsiteX7" fmla="*/ 378887 w 556687"/>
                  <a:gd name="connsiteY7" fmla="*/ 184553 h 368703"/>
                  <a:gd name="connsiteX8" fmla="*/ 299512 w 556687"/>
                  <a:gd name="connsiteY8" fmla="*/ 362353 h 368703"/>
                  <a:gd name="connsiteX9" fmla="*/ 26462 w 556687"/>
                  <a:gd name="connsiteY9" fmla="*/ 368703 h 368703"/>
                  <a:gd name="connsiteX10" fmla="*/ 32812 w 556687"/>
                  <a:gd name="connsiteY10" fmla="*/ 263928 h 368703"/>
                  <a:gd name="connsiteX0" fmla="*/ 32812 w 556687"/>
                  <a:gd name="connsiteY0" fmla="*/ 263928 h 368703"/>
                  <a:gd name="connsiteX1" fmla="*/ 201087 w 556687"/>
                  <a:gd name="connsiteY1" fmla="*/ 248053 h 368703"/>
                  <a:gd name="connsiteX2" fmla="*/ 258237 w 556687"/>
                  <a:gd name="connsiteY2" fmla="*/ 70253 h 368703"/>
                  <a:gd name="connsiteX3" fmla="*/ 499537 w 556687"/>
                  <a:gd name="connsiteY3" fmla="*/ 41678 h 368703"/>
                  <a:gd name="connsiteX4" fmla="*/ 556687 w 556687"/>
                  <a:gd name="connsiteY4" fmla="*/ 343303 h 368703"/>
                  <a:gd name="connsiteX5" fmla="*/ 347137 w 556687"/>
                  <a:gd name="connsiteY5" fmla="*/ 352828 h 368703"/>
                  <a:gd name="connsiteX6" fmla="*/ 413812 w 556687"/>
                  <a:gd name="connsiteY6" fmla="*/ 194078 h 368703"/>
                  <a:gd name="connsiteX7" fmla="*/ 378887 w 556687"/>
                  <a:gd name="connsiteY7" fmla="*/ 184553 h 368703"/>
                  <a:gd name="connsiteX8" fmla="*/ 299512 w 556687"/>
                  <a:gd name="connsiteY8" fmla="*/ 362353 h 368703"/>
                  <a:gd name="connsiteX9" fmla="*/ 26462 w 556687"/>
                  <a:gd name="connsiteY9" fmla="*/ 368703 h 368703"/>
                  <a:gd name="connsiteX10" fmla="*/ 32812 w 556687"/>
                  <a:gd name="connsiteY10" fmla="*/ 263928 h 368703"/>
                  <a:gd name="connsiteX0" fmla="*/ 32812 w 556687"/>
                  <a:gd name="connsiteY0" fmla="*/ 263928 h 368703"/>
                  <a:gd name="connsiteX1" fmla="*/ 201087 w 556687"/>
                  <a:gd name="connsiteY1" fmla="*/ 248053 h 368703"/>
                  <a:gd name="connsiteX2" fmla="*/ 258237 w 556687"/>
                  <a:gd name="connsiteY2" fmla="*/ 70253 h 368703"/>
                  <a:gd name="connsiteX3" fmla="*/ 499537 w 556687"/>
                  <a:gd name="connsiteY3" fmla="*/ 41678 h 368703"/>
                  <a:gd name="connsiteX4" fmla="*/ 556687 w 556687"/>
                  <a:gd name="connsiteY4" fmla="*/ 343303 h 368703"/>
                  <a:gd name="connsiteX5" fmla="*/ 347137 w 556687"/>
                  <a:gd name="connsiteY5" fmla="*/ 352828 h 368703"/>
                  <a:gd name="connsiteX6" fmla="*/ 413812 w 556687"/>
                  <a:gd name="connsiteY6" fmla="*/ 194078 h 368703"/>
                  <a:gd name="connsiteX7" fmla="*/ 378887 w 556687"/>
                  <a:gd name="connsiteY7" fmla="*/ 184553 h 368703"/>
                  <a:gd name="connsiteX8" fmla="*/ 299512 w 556687"/>
                  <a:gd name="connsiteY8" fmla="*/ 362353 h 368703"/>
                  <a:gd name="connsiteX9" fmla="*/ 26462 w 556687"/>
                  <a:gd name="connsiteY9" fmla="*/ 368703 h 368703"/>
                  <a:gd name="connsiteX10" fmla="*/ 32812 w 556687"/>
                  <a:gd name="connsiteY10" fmla="*/ 263928 h 368703"/>
                  <a:gd name="connsiteX0" fmla="*/ 32812 w 556687"/>
                  <a:gd name="connsiteY0" fmla="*/ 260508 h 365283"/>
                  <a:gd name="connsiteX1" fmla="*/ 201087 w 556687"/>
                  <a:gd name="connsiteY1" fmla="*/ 244633 h 365283"/>
                  <a:gd name="connsiteX2" fmla="*/ 258237 w 556687"/>
                  <a:gd name="connsiteY2" fmla="*/ 66833 h 365283"/>
                  <a:gd name="connsiteX3" fmla="*/ 426512 w 556687"/>
                  <a:gd name="connsiteY3" fmla="*/ 7302 h 365283"/>
                  <a:gd name="connsiteX4" fmla="*/ 499537 w 556687"/>
                  <a:gd name="connsiteY4" fmla="*/ 38258 h 365283"/>
                  <a:gd name="connsiteX5" fmla="*/ 556687 w 556687"/>
                  <a:gd name="connsiteY5" fmla="*/ 339883 h 365283"/>
                  <a:gd name="connsiteX6" fmla="*/ 347137 w 556687"/>
                  <a:gd name="connsiteY6" fmla="*/ 349408 h 365283"/>
                  <a:gd name="connsiteX7" fmla="*/ 413812 w 556687"/>
                  <a:gd name="connsiteY7" fmla="*/ 190658 h 365283"/>
                  <a:gd name="connsiteX8" fmla="*/ 378887 w 556687"/>
                  <a:gd name="connsiteY8" fmla="*/ 181133 h 365283"/>
                  <a:gd name="connsiteX9" fmla="*/ 299512 w 556687"/>
                  <a:gd name="connsiteY9" fmla="*/ 358933 h 365283"/>
                  <a:gd name="connsiteX10" fmla="*/ 26462 w 556687"/>
                  <a:gd name="connsiteY10" fmla="*/ 365283 h 365283"/>
                  <a:gd name="connsiteX11" fmla="*/ 32812 w 556687"/>
                  <a:gd name="connsiteY11" fmla="*/ 260508 h 365283"/>
                  <a:gd name="connsiteX0" fmla="*/ 32812 w 557953"/>
                  <a:gd name="connsiteY0" fmla="*/ 268685 h 373460"/>
                  <a:gd name="connsiteX1" fmla="*/ 201087 w 557953"/>
                  <a:gd name="connsiteY1" fmla="*/ 252810 h 373460"/>
                  <a:gd name="connsiteX2" fmla="*/ 258237 w 557953"/>
                  <a:gd name="connsiteY2" fmla="*/ 75010 h 373460"/>
                  <a:gd name="connsiteX3" fmla="*/ 426512 w 557953"/>
                  <a:gd name="connsiteY3" fmla="*/ 15479 h 373460"/>
                  <a:gd name="connsiteX4" fmla="*/ 556687 w 557953"/>
                  <a:gd name="connsiteY4" fmla="*/ 348060 h 373460"/>
                  <a:gd name="connsiteX5" fmla="*/ 347137 w 557953"/>
                  <a:gd name="connsiteY5" fmla="*/ 357585 h 373460"/>
                  <a:gd name="connsiteX6" fmla="*/ 413812 w 557953"/>
                  <a:gd name="connsiteY6" fmla="*/ 198835 h 373460"/>
                  <a:gd name="connsiteX7" fmla="*/ 378887 w 557953"/>
                  <a:gd name="connsiteY7" fmla="*/ 189310 h 373460"/>
                  <a:gd name="connsiteX8" fmla="*/ 299512 w 557953"/>
                  <a:gd name="connsiteY8" fmla="*/ 367110 h 373460"/>
                  <a:gd name="connsiteX9" fmla="*/ 26462 w 557953"/>
                  <a:gd name="connsiteY9" fmla="*/ 373460 h 373460"/>
                  <a:gd name="connsiteX10" fmla="*/ 32812 w 557953"/>
                  <a:gd name="connsiteY10" fmla="*/ 268685 h 373460"/>
                  <a:gd name="connsiteX0" fmla="*/ 32812 w 557953"/>
                  <a:gd name="connsiteY0" fmla="*/ 260976 h 365751"/>
                  <a:gd name="connsiteX1" fmla="*/ 201087 w 557953"/>
                  <a:gd name="connsiteY1" fmla="*/ 245101 h 365751"/>
                  <a:gd name="connsiteX2" fmla="*/ 258237 w 557953"/>
                  <a:gd name="connsiteY2" fmla="*/ 67301 h 365751"/>
                  <a:gd name="connsiteX3" fmla="*/ 426512 w 557953"/>
                  <a:gd name="connsiteY3" fmla="*/ 7770 h 365751"/>
                  <a:gd name="connsiteX4" fmla="*/ 556687 w 557953"/>
                  <a:gd name="connsiteY4" fmla="*/ 340351 h 365751"/>
                  <a:gd name="connsiteX5" fmla="*/ 347137 w 557953"/>
                  <a:gd name="connsiteY5" fmla="*/ 349876 h 365751"/>
                  <a:gd name="connsiteX6" fmla="*/ 413812 w 557953"/>
                  <a:gd name="connsiteY6" fmla="*/ 191126 h 365751"/>
                  <a:gd name="connsiteX7" fmla="*/ 378887 w 557953"/>
                  <a:gd name="connsiteY7" fmla="*/ 181601 h 365751"/>
                  <a:gd name="connsiteX8" fmla="*/ 299512 w 557953"/>
                  <a:gd name="connsiteY8" fmla="*/ 359401 h 365751"/>
                  <a:gd name="connsiteX9" fmla="*/ 26462 w 557953"/>
                  <a:gd name="connsiteY9" fmla="*/ 365751 h 365751"/>
                  <a:gd name="connsiteX10" fmla="*/ 32812 w 557953"/>
                  <a:gd name="connsiteY10" fmla="*/ 260976 h 365751"/>
                  <a:gd name="connsiteX0" fmla="*/ 32812 w 558115"/>
                  <a:gd name="connsiteY0" fmla="*/ 269583 h 374358"/>
                  <a:gd name="connsiteX1" fmla="*/ 201087 w 558115"/>
                  <a:gd name="connsiteY1" fmla="*/ 253708 h 374358"/>
                  <a:gd name="connsiteX2" fmla="*/ 258237 w 558115"/>
                  <a:gd name="connsiteY2" fmla="*/ 75908 h 374358"/>
                  <a:gd name="connsiteX3" fmla="*/ 438418 w 558115"/>
                  <a:gd name="connsiteY3" fmla="*/ 6852 h 374358"/>
                  <a:gd name="connsiteX4" fmla="*/ 556687 w 558115"/>
                  <a:gd name="connsiteY4" fmla="*/ 348958 h 374358"/>
                  <a:gd name="connsiteX5" fmla="*/ 347137 w 558115"/>
                  <a:gd name="connsiteY5" fmla="*/ 358483 h 374358"/>
                  <a:gd name="connsiteX6" fmla="*/ 413812 w 558115"/>
                  <a:gd name="connsiteY6" fmla="*/ 199733 h 374358"/>
                  <a:gd name="connsiteX7" fmla="*/ 378887 w 558115"/>
                  <a:gd name="connsiteY7" fmla="*/ 190208 h 374358"/>
                  <a:gd name="connsiteX8" fmla="*/ 299512 w 558115"/>
                  <a:gd name="connsiteY8" fmla="*/ 368008 h 374358"/>
                  <a:gd name="connsiteX9" fmla="*/ 26462 w 558115"/>
                  <a:gd name="connsiteY9" fmla="*/ 374358 h 374358"/>
                  <a:gd name="connsiteX10" fmla="*/ 32812 w 558115"/>
                  <a:gd name="connsiteY10" fmla="*/ 269583 h 374358"/>
                  <a:gd name="connsiteX0" fmla="*/ 32812 w 558706"/>
                  <a:gd name="connsiteY0" fmla="*/ 269583 h 374358"/>
                  <a:gd name="connsiteX1" fmla="*/ 201087 w 558706"/>
                  <a:gd name="connsiteY1" fmla="*/ 253708 h 374358"/>
                  <a:gd name="connsiteX2" fmla="*/ 258237 w 558706"/>
                  <a:gd name="connsiteY2" fmla="*/ 75908 h 374358"/>
                  <a:gd name="connsiteX3" fmla="*/ 438418 w 558706"/>
                  <a:gd name="connsiteY3" fmla="*/ 6852 h 374358"/>
                  <a:gd name="connsiteX4" fmla="*/ 556687 w 558706"/>
                  <a:gd name="connsiteY4" fmla="*/ 348958 h 374358"/>
                  <a:gd name="connsiteX5" fmla="*/ 347137 w 558706"/>
                  <a:gd name="connsiteY5" fmla="*/ 358483 h 374358"/>
                  <a:gd name="connsiteX6" fmla="*/ 413812 w 558706"/>
                  <a:gd name="connsiteY6" fmla="*/ 199733 h 374358"/>
                  <a:gd name="connsiteX7" fmla="*/ 378887 w 558706"/>
                  <a:gd name="connsiteY7" fmla="*/ 190208 h 374358"/>
                  <a:gd name="connsiteX8" fmla="*/ 299512 w 558706"/>
                  <a:gd name="connsiteY8" fmla="*/ 368008 h 374358"/>
                  <a:gd name="connsiteX9" fmla="*/ 26462 w 558706"/>
                  <a:gd name="connsiteY9" fmla="*/ 374358 h 374358"/>
                  <a:gd name="connsiteX10" fmla="*/ 32812 w 558706"/>
                  <a:gd name="connsiteY10" fmla="*/ 269583 h 374358"/>
                  <a:gd name="connsiteX0" fmla="*/ 32812 w 558706"/>
                  <a:gd name="connsiteY0" fmla="*/ 265576 h 370351"/>
                  <a:gd name="connsiteX1" fmla="*/ 201087 w 558706"/>
                  <a:gd name="connsiteY1" fmla="*/ 249701 h 370351"/>
                  <a:gd name="connsiteX2" fmla="*/ 258237 w 558706"/>
                  <a:gd name="connsiteY2" fmla="*/ 71901 h 370351"/>
                  <a:gd name="connsiteX3" fmla="*/ 438418 w 558706"/>
                  <a:gd name="connsiteY3" fmla="*/ 2845 h 370351"/>
                  <a:gd name="connsiteX4" fmla="*/ 556687 w 558706"/>
                  <a:gd name="connsiteY4" fmla="*/ 344951 h 370351"/>
                  <a:gd name="connsiteX5" fmla="*/ 347137 w 558706"/>
                  <a:gd name="connsiteY5" fmla="*/ 354476 h 370351"/>
                  <a:gd name="connsiteX6" fmla="*/ 413812 w 558706"/>
                  <a:gd name="connsiteY6" fmla="*/ 195726 h 370351"/>
                  <a:gd name="connsiteX7" fmla="*/ 378887 w 558706"/>
                  <a:gd name="connsiteY7" fmla="*/ 186201 h 370351"/>
                  <a:gd name="connsiteX8" fmla="*/ 299512 w 558706"/>
                  <a:gd name="connsiteY8" fmla="*/ 364001 h 370351"/>
                  <a:gd name="connsiteX9" fmla="*/ 26462 w 558706"/>
                  <a:gd name="connsiteY9" fmla="*/ 370351 h 370351"/>
                  <a:gd name="connsiteX10" fmla="*/ 32812 w 558706"/>
                  <a:gd name="connsiteY10" fmla="*/ 265576 h 370351"/>
                  <a:gd name="connsiteX0" fmla="*/ 32812 w 558706"/>
                  <a:gd name="connsiteY0" fmla="*/ 268667 h 373442"/>
                  <a:gd name="connsiteX1" fmla="*/ 201087 w 558706"/>
                  <a:gd name="connsiteY1" fmla="*/ 252792 h 373442"/>
                  <a:gd name="connsiteX2" fmla="*/ 258237 w 558706"/>
                  <a:gd name="connsiteY2" fmla="*/ 74992 h 373442"/>
                  <a:gd name="connsiteX3" fmla="*/ 438418 w 558706"/>
                  <a:gd name="connsiteY3" fmla="*/ 5936 h 373442"/>
                  <a:gd name="connsiteX4" fmla="*/ 556687 w 558706"/>
                  <a:gd name="connsiteY4" fmla="*/ 348042 h 373442"/>
                  <a:gd name="connsiteX5" fmla="*/ 347137 w 558706"/>
                  <a:gd name="connsiteY5" fmla="*/ 357567 h 373442"/>
                  <a:gd name="connsiteX6" fmla="*/ 413812 w 558706"/>
                  <a:gd name="connsiteY6" fmla="*/ 198817 h 373442"/>
                  <a:gd name="connsiteX7" fmla="*/ 378887 w 558706"/>
                  <a:gd name="connsiteY7" fmla="*/ 189292 h 373442"/>
                  <a:gd name="connsiteX8" fmla="*/ 299512 w 558706"/>
                  <a:gd name="connsiteY8" fmla="*/ 367092 h 373442"/>
                  <a:gd name="connsiteX9" fmla="*/ 26462 w 558706"/>
                  <a:gd name="connsiteY9" fmla="*/ 373442 h 373442"/>
                  <a:gd name="connsiteX10" fmla="*/ 32812 w 558706"/>
                  <a:gd name="connsiteY10" fmla="*/ 268667 h 373442"/>
                  <a:gd name="connsiteX0" fmla="*/ 32812 w 556687"/>
                  <a:gd name="connsiteY0" fmla="*/ 268667 h 373442"/>
                  <a:gd name="connsiteX1" fmla="*/ 201087 w 556687"/>
                  <a:gd name="connsiteY1" fmla="*/ 252792 h 373442"/>
                  <a:gd name="connsiteX2" fmla="*/ 258237 w 556687"/>
                  <a:gd name="connsiteY2" fmla="*/ 74992 h 373442"/>
                  <a:gd name="connsiteX3" fmla="*/ 438418 w 556687"/>
                  <a:gd name="connsiteY3" fmla="*/ 5936 h 373442"/>
                  <a:gd name="connsiteX4" fmla="*/ 556687 w 556687"/>
                  <a:gd name="connsiteY4" fmla="*/ 348042 h 373442"/>
                  <a:gd name="connsiteX5" fmla="*/ 347137 w 556687"/>
                  <a:gd name="connsiteY5" fmla="*/ 357567 h 373442"/>
                  <a:gd name="connsiteX6" fmla="*/ 413812 w 556687"/>
                  <a:gd name="connsiteY6" fmla="*/ 198817 h 373442"/>
                  <a:gd name="connsiteX7" fmla="*/ 378887 w 556687"/>
                  <a:gd name="connsiteY7" fmla="*/ 189292 h 373442"/>
                  <a:gd name="connsiteX8" fmla="*/ 299512 w 556687"/>
                  <a:gd name="connsiteY8" fmla="*/ 367092 h 373442"/>
                  <a:gd name="connsiteX9" fmla="*/ 26462 w 556687"/>
                  <a:gd name="connsiteY9" fmla="*/ 373442 h 373442"/>
                  <a:gd name="connsiteX10" fmla="*/ 32812 w 556687"/>
                  <a:gd name="connsiteY10" fmla="*/ 268667 h 373442"/>
                  <a:gd name="connsiteX0" fmla="*/ 32812 w 556687"/>
                  <a:gd name="connsiteY0" fmla="*/ 268667 h 373442"/>
                  <a:gd name="connsiteX1" fmla="*/ 201087 w 556687"/>
                  <a:gd name="connsiteY1" fmla="*/ 252792 h 373442"/>
                  <a:gd name="connsiteX2" fmla="*/ 258237 w 556687"/>
                  <a:gd name="connsiteY2" fmla="*/ 74992 h 373442"/>
                  <a:gd name="connsiteX3" fmla="*/ 438418 w 556687"/>
                  <a:gd name="connsiteY3" fmla="*/ 5936 h 373442"/>
                  <a:gd name="connsiteX4" fmla="*/ 556687 w 556687"/>
                  <a:gd name="connsiteY4" fmla="*/ 348042 h 373442"/>
                  <a:gd name="connsiteX5" fmla="*/ 347137 w 556687"/>
                  <a:gd name="connsiteY5" fmla="*/ 357567 h 373442"/>
                  <a:gd name="connsiteX6" fmla="*/ 413812 w 556687"/>
                  <a:gd name="connsiteY6" fmla="*/ 198817 h 373442"/>
                  <a:gd name="connsiteX7" fmla="*/ 378887 w 556687"/>
                  <a:gd name="connsiteY7" fmla="*/ 189292 h 373442"/>
                  <a:gd name="connsiteX8" fmla="*/ 299512 w 556687"/>
                  <a:gd name="connsiteY8" fmla="*/ 367092 h 373442"/>
                  <a:gd name="connsiteX9" fmla="*/ 26462 w 556687"/>
                  <a:gd name="connsiteY9" fmla="*/ 373442 h 373442"/>
                  <a:gd name="connsiteX10" fmla="*/ 32812 w 556687"/>
                  <a:gd name="connsiteY10" fmla="*/ 268667 h 373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56687" h="373442">
                    <a:moveTo>
                      <a:pt x="32812" y="268667"/>
                    </a:moveTo>
                    <a:lnTo>
                      <a:pt x="201087" y="252792"/>
                    </a:lnTo>
                    <a:lnTo>
                      <a:pt x="258237" y="74992"/>
                    </a:lnTo>
                    <a:cubicBezTo>
                      <a:pt x="302951" y="-282"/>
                      <a:pt x="376770" y="-8615"/>
                      <a:pt x="438418" y="5936"/>
                    </a:cubicBezTo>
                    <a:cubicBezTo>
                      <a:pt x="516735" y="49062"/>
                      <a:pt x="546104" y="71949"/>
                      <a:pt x="556687" y="348042"/>
                    </a:cubicBezTo>
                    <a:cubicBezTo>
                      <a:pt x="479693" y="353599"/>
                      <a:pt x="416987" y="354392"/>
                      <a:pt x="347137" y="357567"/>
                    </a:cubicBezTo>
                    <a:cubicBezTo>
                      <a:pt x="357456" y="321318"/>
                      <a:pt x="389206" y="251734"/>
                      <a:pt x="413812" y="198817"/>
                    </a:cubicBezTo>
                    <a:lnTo>
                      <a:pt x="378887" y="189292"/>
                    </a:lnTo>
                    <a:lnTo>
                      <a:pt x="299512" y="367092"/>
                    </a:lnTo>
                    <a:lnTo>
                      <a:pt x="26462" y="373442"/>
                    </a:lnTo>
                    <a:cubicBezTo>
                      <a:pt x="3972" y="361535"/>
                      <a:pt x="-22485" y="302005"/>
                      <a:pt x="32812" y="268667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881">
                  <a:defRPr/>
                </a:pPr>
                <a:endParaRPr lang="en-IN" sz="1836" kern="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95"/>
              <p:cNvSpPr/>
              <p:nvPr/>
            </p:nvSpPr>
            <p:spPr>
              <a:xfrm rot="20245202">
                <a:off x="3666777" y="3312921"/>
                <a:ext cx="255167" cy="149644"/>
              </a:xfrm>
              <a:custGeom>
                <a:avLst/>
                <a:gdLst>
                  <a:gd name="connsiteX0" fmla="*/ 246244 w 255167"/>
                  <a:gd name="connsiteY0" fmla="*/ 8923 h 128920"/>
                  <a:gd name="connsiteX1" fmla="*/ 255167 w 255167"/>
                  <a:gd name="connsiteY1" fmla="*/ 30466 h 128920"/>
                  <a:gd name="connsiteX2" fmla="*/ 255167 w 255167"/>
                  <a:gd name="connsiteY2" fmla="*/ 101784 h 128920"/>
                  <a:gd name="connsiteX3" fmla="*/ 246244 w 255167"/>
                  <a:gd name="connsiteY3" fmla="*/ 123327 h 128920"/>
                  <a:gd name="connsiteX4" fmla="*/ 232739 w 255167"/>
                  <a:gd name="connsiteY4" fmla="*/ 128920 h 128920"/>
                  <a:gd name="connsiteX5" fmla="*/ 232739 w 255167"/>
                  <a:gd name="connsiteY5" fmla="*/ 29639 h 128920"/>
                  <a:gd name="connsiteX6" fmla="*/ 223504 w 255167"/>
                  <a:gd name="connsiteY6" fmla="*/ 20404 h 128920"/>
                  <a:gd name="connsiteX7" fmla="*/ 31662 w 255167"/>
                  <a:gd name="connsiteY7" fmla="*/ 20404 h 128920"/>
                  <a:gd name="connsiteX8" fmla="*/ 22427 w 255167"/>
                  <a:gd name="connsiteY8" fmla="*/ 29639 h 128920"/>
                  <a:gd name="connsiteX9" fmla="*/ 22427 w 255167"/>
                  <a:gd name="connsiteY9" fmla="*/ 128920 h 128920"/>
                  <a:gd name="connsiteX10" fmla="*/ 8923 w 255167"/>
                  <a:gd name="connsiteY10" fmla="*/ 123327 h 128920"/>
                  <a:gd name="connsiteX11" fmla="*/ 0 w 255167"/>
                  <a:gd name="connsiteY11" fmla="*/ 101784 h 128920"/>
                  <a:gd name="connsiteX12" fmla="*/ 0 w 255167"/>
                  <a:gd name="connsiteY12" fmla="*/ 30466 h 128920"/>
                  <a:gd name="connsiteX13" fmla="*/ 30466 w 255167"/>
                  <a:gd name="connsiteY13" fmla="*/ 0 h 128920"/>
                  <a:gd name="connsiteX14" fmla="*/ 224701 w 255167"/>
                  <a:gd name="connsiteY14" fmla="*/ 0 h 128920"/>
                  <a:gd name="connsiteX15" fmla="*/ 246244 w 255167"/>
                  <a:gd name="connsiteY15" fmla="*/ 8923 h 128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5167" h="128920">
                    <a:moveTo>
                      <a:pt x="246244" y="8923"/>
                    </a:moveTo>
                    <a:cubicBezTo>
                      <a:pt x="251757" y="14437"/>
                      <a:pt x="255167" y="22053"/>
                      <a:pt x="255167" y="30466"/>
                    </a:cubicBezTo>
                    <a:lnTo>
                      <a:pt x="255167" y="101784"/>
                    </a:lnTo>
                    <a:cubicBezTo>
                      <a:pt x="255167" y="110197"/>
                      <a:pt x="251757" y="117814"/>
                      <a:pt x="246244" y="123327"/>
                    </a:cubicBezTo>
                    <a:lnTo>
                      <a:pt x="232739" y="128920"/>
                    </a:lnTo>
                    <a:lnTo>
                      <a:pt x="232739" y="29639"/>
                    </a:lnTo>
                    <a:cubicBezTo>
                      <a:pt x="232739" y="24539"/>
                      <a:pt x="228604" y="20404"/>
                      <a:pt x="223504" y="20404"/>
                    </a:cubicBezTo>
                    <a:lnTo>
                      <a:pt x="31662" y="20404"/>
                    </a:lnTo>
                    <a:cubicBezTo>
                      <a:pt x="26562" y="20404"/>
                      <a:pt x="22427" y="24539"/>
                      <a:pt x="22427" y="29639"/>
                    </a:cubicBezTo>
                    <a:lnTo>
                      <a:pt x="22427" y="128920"/>
                    </a:lnTo>
                    <a:lnTo>
                      <a:pt x="8923" y="123327"/>
                    </a:lnTo>
                    <a:cubicBezTo>
                      <a:pt x="3410" y="117813"/>
                      <a:pt x="0" y="110197"/>
                      <a:pt x="0" y="101784"/>
                    </a:cubicBezTo>
                    <a:lnTo>
                      <a:pt x="0" y="30466"/>
                    </a:lnTo>
                    <a:cubicBezTo>
                      <a:pt x="0" y="13640"/>
                      <a:pt x="13640" y="0"/>
                      <a:pt x="30466" y="0"/>
                    </a:cubicBezTo>
                    <a:lnTo>
                      <a:pt x="224701" y="0"/>
                    </a:lnTo>
                    <a:cubicBezTo>
                      <a:pt x="233114" y="0"/>
                      <a:pt x="240731" y="3410"/>
                      <a:pt x="246244" y="8923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881">
                  <a:defRPr/>
                </a:pPr>
                <a:endParaRPr lang="en-IN" sz="1836" kern="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sp>
        <p:nvSpPr>
          <p:cNvPr id="25" name="TextBox 24"/>
          <p:cNvSpPr txBox="1"/>
          <p:nvPr/>
        </p:nvSpPr>
        <p:spPr>
          <a:xfrm>
            <a:off x="2546638" y="4513890"/>
            <a:ext cx="3636049" cy="16804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cenario:</a:t>
            </a:r>
          </a:p>
          <a:p>
            <a:pPr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hare my analysis via an interactive web app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192351382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am data science process</a:t>
            </a:r>
          </a:p>
        </p:txBody>
      </p:sp>
    </p:spTree>
    <p:extLst>
      <p:ext uri="{BB962C8B-B14F-4D97-AF65-F5344CB8AC3E}">
        <p14:creationId xmlns:p14="http://schemas.microsoft.com/office/powerpoint/2010/main" val="172490460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Team data science proces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8209" y="1193006"/>
            <a:ext cx="7620056" cy="5238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304877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ndard project structure + repo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587" y="2148947"/>
            <a:ext cx="5657143" cy="23523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4317" y="1481038"/>
            <a:ext cx="5628571" cy="442857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637" y="5153446"/>
            <a:ext cx="4032448" cy="129266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ore information: </a:t>
            </a:r>
            <a:r>
              <a:rPr 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4"/>
              </a:rPr>
              <a:t>https://github.com/Azure/Microsoft-TDSP</a:t>
            </a:r>
            <a:r>
              <a:rPr 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endParaRPr lang="en-US" sz="24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99800878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6532860"/>
            <a:ext cx="3913981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Source: Xkcd “Documents”, </a:t>
            </a:r>
            <a:r>
              <a:rPr lang="en-AU" sz="1200">
                <a:solidFill>
                  <a:schemeClr val="accent2"/>
                </a:solidFill>
                <a:hlinkClick r:id="rId2"/>
              </a:rPr>
              <a:t>https://xkcd.com/1459/</a:t>
            </a:r>
            <a:r>
              <a:rPr lang="en-AU" sz="1200">
                <a:solidFill>
                  <a:schemeClr val="accent2"/>
                </a:solidFill>
              </a:rPr>
              <a:t> </a:t>
            </a:r>
            <a:endParaRPr lang="en-US" sz="1200" dirty="0" err="1">
              <a:solidFill>
                <a:schemeClr val="accent2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7996" y="971147"/>
            <a:ext cx="3040483" cy="5052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270820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9366" y="765400"/>
            <a:ext cx="3777743" cy="546372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0" y="6532860"/>
            <a:ext cx="3913981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Source: Xkcd “Git”, </a:t>
            </a:r>
            <a:r>
              <a:rPr lang="en-AU" sz="1200">
                <a:solidFill>
                  <a:schemeClr val="accent2"/>
                </a:solidFill>
                <a:hlinkClick r:id="rId3"/>
              </a:rPr>
              <a:t>https://xkcd.com/1597/</a:t>
            </a:r>
            <a:r>
              <a:rPr lang="en-AU" sz="1200">
                <a:solidFill>
                  <a:schemeClr val="accent2"/>
                </a:solidFill>
              </a:rPr>
              <a:t> </a:t>
            </a:r>
            <a:endParaRPr lang="en-US" sz="1200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221811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4638" y="2633166"/>
            <a:ext cx="10552111" cy="1181862"/>
          </a:xfrm>
        </p:spPr>
        <p:txBody>
          <a:bodyPr/>
          <a:lstStyle/>
          <a:p>
            <a:r>
              <a:rPr lang="en-US"/>
              <a:t>Galaxy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8282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assifying galaxy structure with DNN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Based on a talk by Andrie de Vries, Data Science Lead, ADS London at MLADS last year</a:t>
            </a:r>
          </a:p>
          <a:p>
            <a:endParaRPr lang="en-US"/>
          </a:p>
          <a:p>
            <a:r>
              <a:rPr lang="en-US"/>
              <a:t>@RevoAndrie</a:t>
            </a:r>
          </a:p>
          <a:p>
            <a:r>
              <a:rPr lang="en-US"/>
              <a:t>adevries@microsoft.com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97319" y="6218801"/>
            <a:ext cx="4120718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ll images obtained from Hubble Space Telescope site unless otherwise noted: </a:t>
            </a: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2"/>
              </a:rPr>
              <a:t>http://www.spacetelescope.org</a:t>
            </a:r>
            <a:endParaRPr lang="en-US" sz="12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1026" name="Picture 2" descr="https://cdn.spacetelescope.org/archives/images/screen/heic0910i.jpg"/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5" b="2315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8188003" y="6538858"/>
            <a:ext cx="4248472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Galactic wreckage in Stephan’s Quintet</a:t>
            </a:r>
            <a:endParaRPr lang="en-US" sz="1200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767556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2563" y="-943293"/>
            <a:ext cx="12801600" cy="888111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188003" y="6538858"/>
            <a:ext cx="4248472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Whirlpool Galaxy (M51) and companion galaxy</a:t>
            </a:r>
            <a:endParaRPr lang="en-US" sz="1200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5012265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2563" y="-803275"/>
            <a:ext cx="12801600" cy="860107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88003" y="6538858"/>
            <a:ext cx="4248472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“Grand design” spiral galaxy M81</a:t>
            </a:r>
            <a:endParaRPr lang="en-US" sz="1200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70161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7200"/>
              <a:t>Microsoft R Server</a:t>
            </a:r>
            <a:endParaRPr lang="en-US" sz="7200" dirty="0"/>
          </a:p>
        </p:txBody>
      </p:sp>
    </p:spTree>
    <p:extLst>
      <p:ext uri="{BB962C8B-B14F-4D97-AF65-F5344CB8AC3E}">
        <p14:creationId xmlns:p14="http://schemas.microsoft.com/office/powerpoint/2010/main" val="3690709974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1934" y="-78695"/>
            <a:ext cx="12540343" cy="715191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188003" y="6538858"/>
            <a:ext cx="4248472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 Barred spiral galaxy NGC 1300</a:t>
            </a:r>
            <a:endParaRPr lang="en-US" sz="1200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333021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2563" y="-1023303"/>
            <a:ext cx="12801600" cy="904113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88003" y="6538858"/>
            <a:ext cx="4248472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 Elliptical galaxy IC 2006</a:t>
            </a:r>
            <a:endParaRPr lang="en-US" sz="1200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468697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84163" y="-2862898"/>
            <a:ext cx="13004800" cy="1272032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154341" y="6538858"/>
            <a:ext cx="5282134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Centaurus A, from European Southern Observatory: </a:t>
            </a:r>
            <a:r>
              <a:rPr lang="en-AU" sz="1200">
                <a:solidFill>
                  <a:schemeClr val="accent2"/>
                </a:solidFill>
                <a:hlinkClick r:id="rId3"/>
              </a:rPr>
              <a:t>http://www.eso.org</a:t>
            </a:r>
            <a:r>
              <a:rPr lang="en-AU" sz="1200">
                <a:solidFill>
                  <a:schemeClr val="accent2"/>
                </a:solidFill>
              </a:rPr>
              <a:t> </a:t>
            </a:r>
            <a:endParaRPr lang="en-US" sz="1200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517810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“Hubble tuning fork”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3341" y="1337022"/>
            <a:ext cx="5852160" cy="481888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0" y="6532860"/>
            <a:ext cx="4248472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Source: </a:t>
            </a:r>
            <a:r>
              <a:rPr lang="en-AU" sz="1200">
                <a:solidFill>
                  <a:schemeClr val="accent2"/>
                </a:solidFill>
                <a:hlinkClick r:id="rId3"/>
              </a:rPr>
              <a:t>Wikipedia</a:t>
            </a:r>
            <a:endParaRPr lang="en-US" sz="1200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312994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data delu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he Sloan Digital Sky Survey has imaged ~900,000 galaxies</a:t>
            </a:r>
          </a:p>
          <a:p>
            <a:r>
              <a:rPr lang="en-US"/>
              <a:t>Too many for professional astronomers to classif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5589" y="4433366"/>
            <a:ext cx="7416824" cy="1403461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r>
              <a:rPr lang="en-US">
                <a:hlinkClick r:id="rId2"/>
              </a:rPr>
              <a:t>https://demosgallery.azurewebsites.net/#story/galaxy</a:t>
            </a:r>
            <a:endParaRPr lang="en-US"/>
          </a:p>
          <a:p>
            <a:r>
              <a:rPr lang="en-US"/>
              <a:t> </a:t>
            </a:r>
          </a:p>
          <a:p>
            <a:r>
              <a:rPr lang="en-US">
                <a:hlinkClick r:id="rId3"/>
              </a:rPr>
              <a:t>https://blogs.technet.microsoft.com/dataplatforminsider/2016/03/10/mapping-the-universe-with-sql-server/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749917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Galaxy Zoo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3322" y="1388862"/>
            <a:ext cx="5641652" cy="42168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0" y="6200461"/>
            <a:ext cx="4490045" cy="7940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Source: Willett et al, “Galaxy Zoo 2: detailed morphological classifications for 304,122 galaxies from the Sloan Digital Sky Survey”, </a:t>
            </a:r>
            <a:r>
              <a:rPr lang="en-AU" sz="1200">
                <a:solidFill>
                  <a:schemeClr val="accent2"/>
                </a:solidFill>
                <a:hlinkClick r:id="rId3"/>
              </a:rPr>
              <a:t>https://arxiv.org/abs/1308.3496</a:t>
            </a:r>
            <a:endParaRPr lang="en-US" sz="1200" dirty="0" err="1">
              <a:solidFill>
                <a:schemeClr val="accent2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8296" y="1268412"/>
            <a:ext cx="4564856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331574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classify?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973944" y="1787828"/>
            <a:ext cx="2514600" cy="3766846"/>
            <a:chOff x="973944" y="1787828"/>
            <a:chExt cx="2514600" cy="376684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73944" y="2683458"/>
              <a:ext cx="2514600" cy="2871216"/>
            </a:xfrm>
            <a:prstGeom prst="rect">
              <a:avLst/>
            </a:prstGeom>
            <a:ln w="190500" cap="sq">
              <a:solidFill>
                <a:srgbClr val="C8C6BD"/>
              </a:solidFill>
              <a:prstDash val="solid"/>
              <a:miter lim="800000"/>
            </a:ln>
            <a:effectLst>
              <a:outerShdw blurRad="254000" algn="bl" rotWithShape="0">
                <a:srgbClr val="000000">
                  <a:alpha val="43000"/>
                </a:srgbClr>
              </a:outerShdw>
            </a:effectLst>
            <a:scene3d>
              <a:camera prst="perspectiveFront" fov="5400000"/>
              <a:lightRig rig="threePt" dir="t">
                <a:rot lat="0" lon="0" rev="2100000"/>
              </a:lightRig>
            </a:scene3d>
            <a:sp3d extrusionH="25400">
              <a:bevelT w="304800" h="152400" prst="hardEdge"/>
              <a:extrusionClr>
                <a:srgbClr val="000000"/>
              </a:extrusionClr>
            </a:sp3d>
          </p:spPr>
        </p:pic>
        <p:sp>
          <p:nvSpPr>
            <p:cNvPr id="10" name="TextBox 9"/>
            <p:cNvSpPr txBox="1"/>
            <p:nvPr/>
          </p:nvSpPr>
          <p:spPr>
            <a:xfrm>
              <a:off x="1165727" y="1787828"/>
              <a:ext cx="213103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just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fessionals</a:t>
              </a:r>
              <a:endPara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634061" y="1779709"/>
            <a:ext cx="3285195" cy="3825257"/>
            <a:chOff x="4634061" y="1779709"/>
            <a:chExt cx="3285195" cy="3825257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55039" y="2633166"/>
              <a:ext cx="3043238" cy="2971800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11" name="TextBox 10"/>
            <p:cNvSpPr txBox="1"/>
            <p:nvPr/>
          </p:nvSpPr>
          <p:spPr>
            <a:xfrm>
              <a:off x="4634061" y="1779709"/>
              <a:ext cx="3285195" cy="62786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itizen data scientists</a:t>
              </a:r>
              <a:endPara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8966832" y="1787828"/>
            <a:ext cx="2857500" cy="3759988"/>
            <a:chOff x="8966832" y="1787828"/>
            <a:chExt cx="2857500" cy="375998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66832" y="2690316"/>
              <a:ext cx="2857500" cy="2857500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9026713" y="1787828"/>
              <a:ext cx="2737737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omputer vision?</a:t>
              </a:r>
              <a:endPara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858768" y="5641899"/>
            <a:ext cx="2767182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Johannes Vermeer, </a:t>
            </a:r>
            <a:r>
              <a:rPr lang="en-AU" sz="1200" i="1">
                <a:solidFill>
                  <a:schemeClr val="accent2"/>
                </a:solidFill>
              </a:rPr>
              <a:t>The Astronomer</a:t>
            </a:r>
            <a:endParaRPr lang="en-US" sz="1200" i="1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58730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ep learning for image recognition</a:t>
            </a:r>
          </a:p>
        </p:txBody>
      </p:sp>
      <p:pic>
        <p:nvPicPr>
          <p:cNvPr id="1028" name="Picture 4" descr="http://cs231n.github.io/assets/cnn/convnet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5534" y="1350565"/>
            <a:ext cx="8965406" cy="4293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-2853" y="6532860"/>
            <a:ext cx="5498157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Source: </a:t>
            </a:r>
            <a:r>
              <a:rPr lang="en-AU" sz="1200">
                <a:solidFill>
                  <a:schemeClr val="accent2"/>
                </a:solidFill>
                <a:hlinkClick r:id="rId3"/>
              </a:rPr>
              <a:t>http://cs231n.github.io/convolutional-networks/</a:t>
            </a:r>
            <a:r>
              <a:rPr lang="en-AU" sz="1200">
                <a:solidFill>
                  <a:schemeClr val="accent2"/>
                </a:solidFill>
              </a:rPr>
              <a:t> </a:t>
            </a:r>
            <a:endParaRPr lang="en-US" sz="1200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456036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twork anatomy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73208" y="1652765"/>
            <a:ext cx="2592288" cy="3939355"/>
            <a:chOff x="673208" y="1652765"/>
            <a:chExt cx="2592288" cy="393935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90633" y="3010845"/>
              <a:ext cx="2357438" cy="2581275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5" name="TextBox 4"/>
            <p:cNvSpPr txBox="1"/>
            <p:nvPr/>
          </p:nvSpPr>
          <p:spPr>
            <a:xfrm>
              <a:off x="673208" y="1652765"/>
              <a:ext cx="2592288" cy="1292662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onvolution + ReLU: find the pattern</a:t>
              </a:r>
              <a:endPara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8384" y="6366661"/>
            <a:ext cx="5498157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1200">
                <a:solidFill>
                  <a:schemeClr val="accent2"/>
                </a:solidFill>
              </a:rPr>
              <a:t>Sources: </a:t>
            </a:r>
            <a:r>
              <a:rPr lang="en-AU" sz="1200">
                <a:solidFill>
                  <a:schemeClr val="accent2"/>
                </a:solidFill>
                <a:hlinkClick r:id="rId3"/>
              </a:rPr>
              <a:t>https://github.com/vdumoulin/conv_arithmetic</a:t>
            </a:r>
            <a:r>
              <a:rPr lang="en-AU" sz="1200">
                <a:solidFill>
                  <a:schemeClr val="accent2"/>
                </a:solidFill>
              </a:rPr>
              <a:t> (left), </a:t>
            </a:r>
            <a:r>
              <a:rPr lang="en-AU" sz="1200">
                <a:solidFill>
                  <a:schemeClr val="accent2"/>
                </a:solidFill>
                <a:hlinkClick r:id="rId4"/>
              </a:rPr>
              <a:t>http://cs231n.github.io/convolutional-networks/</a:t>
            </a:r>
            <a:r>
              <a:rPr lang="en-AU" sz="1200">
                <a:solidFill>
                  <a:schemeClr val="accent2"/>
                </a:solidFill>
              </a:rPr>
              <a:t> </a:t>
            </a:r>
            <a:endParaRPr lang="en-US" sz="1200" dirty="0" err="1">
              <a:solidFill>
                <a:schemeClr val="accent2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3911732" y="1648872"/>
            <a:ext cx="3748088" cy="3528910"/>
            <a:chOff x="3911732" y="1648872"/>
            <a:chExt cx="3748088" cy="352891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11732" y="3425182"/>
              <a:ext cx="3748088" cy="17526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9" name="TextBox 8"/>
            <p:cNvSpPr txBox="1"/>
            <p:nvPr/>
          </p:nvSpPr>
          <p:spPr>
            <a:xfrm>
              <a:off x="4597644" y="1648872"/>
              <a:ext cx="2376264" cy="1292662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oling: collapse it down</a:t>
              </a:r>
              <a:endPara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8423481" y="1648872"/>
            <a:ext cx="3767138" cy="3576535"/>
            <a:chOff x="8423481" y="1648872"/>
            <a:chExt cx="3767138" cy="3576535"/>
          </a:xfrm>
        </p:grpSpPr>
        <p:sp>
          <p:nvSpPr>
            <p:cNvPr id="12" name="TextBox 11"/>
            <p:cNvSpPr txBox="1"/>
            <p:nvPr/>
          </p:nvSpPr>
          <p:spPr>
            <a:xfrm>
              <a:off x="9046910" y="1648872"/>
              <a:ext cx="2520280" cy="1292662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Fully connected layer(s): choose a label</a:t>
              </a:r>
              <a:endPara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423481" y="3377557"/>
              <a:ext cx="3767138" cy="184785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2906296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sults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6523825"/>
              </p:ext>
            </p:extLst>
          </p:nvPr>
        </p:nvGraphicFramePr>
        <p:xfrm>
          <a:off x="737115" y="2345134"/>
          <a:ext cx="5112565" cy="2952325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1022513">
                  <a:extLst>
                    <a:ext uri="{9D8B030D-6E8A-4147-A177-3AD203B41FA5}">
                      <a16:colId xmlns:a16="http://schemas.microsoft.com/office/drawing/2014/main" val="1807947732"/>
                    </a:ext>
                  </a:extLst>
                </a:gridCol>
                <a:gridCol w="1022513">
                  <a:extLst>
                    <a:ext uri="{9D8B030D-6E8A-4147-A177-3AD203B41FA5}">
                      <a16:colId xmlns:a16="http://schemas.microsoft.com/office/drawing/2014/main" val="1911449693"/>
                    </a:ext>
                  </a:extLst>
                </a:gridCol>
                <a:gridCol w="1022513">
                  <a:extLst>
                    <a:ext uri="{9D8B030D-6E8A-4147-A177-3AD203B41FA5}">
                      <a16:colId xmlns:a16="http://schemas.microsoft.com/office/drawing/2014/main" val="1251436592"/>
                    </a:ext>
                  </a:extLst>
                </a:gridCol>
                <a:gridCol w="1022513">
                  <a:extLst>
                    <a:ext uri="{9D8B030D-6E8A-4147-A177-3AD203B41FA5}">
                      <a16:colId xmlns:a16="http://schemas.microsoft.com/office/drawing/2014/main" val="2558204722"/>
                    </a:ext>
                  </a:extLst>
                </a:gridCol>
                <a:gridCol w="1022513">
                  <a:extLst>
                    <a:ext uri="{9D8B030D-6E8A-4147-A177-3AD203B41FA5}">
                      <a16:colId xmlns:a16="http://schemas.microsoft.com/office/drawing/2014/main" val="2193408556"/>
                    </a:ext>
                  </a:extLst>
                </a:gridCol>
              </a:tblGrid>
              <a:tr h="590465">
                <a:tc>
                  <a:txBody>
                    <a:bodyPr/>
                    <a:lstStyle/>
                    <a:p>
                      <a:pPr algn="r"/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Ambiguous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Barred Spir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Spir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Elliptic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5337317"/>
                  </a:ext>
                </a:extLst>
              </a:tr>
              <a:tr h="590465"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Ambiguous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58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2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33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44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36294"/>
                  </a:ext>
                </a:extLst>
              </a:tr>
              <a:tr h="590465"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Barred Spir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0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6959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7740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707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25181173"/>
                  </a:ext>
                </a:extLst>
              </a:tr>
              <a:tr h="590465"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Spir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9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3100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28064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4648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9305559"/>
                  </a:ext>
                </a:extLst>
              </a:tr>
              <a:tr h="590465"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Elliptic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9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617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0210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16700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03473206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6495919"/>
              </p:ext>
            </p:extLst>
          </p:nvPr>
        </p:nvGraphicFramePr>
        <p:xfrm>
          <a:off x="6586795" y="2345133"/>
          <a:ext cx="5112565" cy="2952325"/>
        </p:xfrm>
        <a:graphic>
          <a:graphicData uri="http://schemas.openxmlformats.org/drawingml/2006/table">
            <a:tbl>
              <a:tblPr firstRow="1" firstCol="1" bandRow="1">
                <a:tableStyleId>{C083E6E3-FA7D-4D7B-A595-EF9225AFEA82}</a:tableStyleId>
              </a:tblPr>
              <a:tblGrid>
                <a:gridCol w="1022513">
                  <a:extLst>
                    <a:ext uri="{9D8B030D-6E8A-4147-A177-3AD203B41FA5}">
                      <a16:colId xmlns:a16="http://schemas.microsoft.com/office/drawing/2014/main" val="1807947732"/>
                    </a:ext>
                  </a:extLst>
                </a:gridCol>
                <a:gridCol w="1022513">
                  <a:extLst>
                    <a:ext uri="{9D8B030D-6E8A-4147-A177-3AD203B41FA5}">
                      <a16:colId xmlns:a16="http://schemas.microsoft.com/office/drawing/2014/main" val="1911449693"/>
                    </a:ext>
                  </a:extLst>
                </a:gridCol>
                <a:gridCol w="1022513">
                  <a:extLst>
                    <a:ext uri="{9D8B030D-6E8A-4147-A177-3AD203B41FA5}">
                      <a16:colId xmlns:a16="http://schemas.microsoft.com/office/drawing/2014/main" val="1251436592"/>
                    </a:ext>
                  </a:extLst>
                </a:gridCol>
                <a:gridCol w="1022513">
                  <a:extLst>
                    <a:ext uri="{9D8B030D-6E8A-4147-A177-3AD203B41FA5}">
                      <a16:colId xmlns:a16="http://schemas.microsoft.com/office/drawing/2014/main" val="2558204722"/>
                    </a:ext>
                  </a:extLst>
                </a:gridCol>
                <a:gridCol w="1022513">
                  <a:extLst>
                    <a:ext uri="{9D8B030D-6E8A-4147-A177-3AD203B41FA5}">
                      <a16:colId xmlns:a16="http://schemas.microsoft.com/office/drawing/2014/main" val="2193408556"/>
                    </a:ext>
                  </a:extLst>
                </a:gridCol>
              </a:tblGrid>
              <a:tr h="590465">
                <a:tc>
                  <a:txBody>
                    <a:bodyPr/>
                    <a:lstStyle/>
                    <a:p>
                      <a:pPr algn="r"/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Ambiguous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Barred Spir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Spir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Elliptic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5337317"/>
                  </a:ext>
                </a:extLst>
              </a:tr>
              <a:tr h="590465"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Ambiguous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6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0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6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8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36294"/>
                  </a:ext>
                </a:extLst>
              </a:tr>
              <a:tr h="590465"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Barred Spir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177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201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306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25181173"/>
                  </a:ext>
                </a:extLst>
              </a:tr>
              <a:tr h="590465"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Spir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7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662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1430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2397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9305559"/>
                  </a:ext>
                </a:extLst>
              </a:tr>
              <a:tr h="590465"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Elliptical</a:t>
                      </a:r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0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62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992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/>
                        <a:t>10625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03473206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226021" y="1489342"/>
            <a:ext cx="2134752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accent2"/>
                </a:solidFill>
              </a:rPr>
              <a:t>Training data</a:t>
            </a:r>
            <a:endParaRPr lang="en-US" sz="2400" dirty="0" err="1">
              <a:solidFill>
                <a:schemeClr val="accent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89241" y="5585494"/>
            <a:ext cx="280831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accent2"/>
                </a:solidFill>
              </a:rPr>
              <a:t>Error rate = 12.7%</a:t>
            </a:r>
            <a:endParaRPr lang="en-US" sz="2400" dirty="0" err="1">
              <a:solidFill>
                <a:schemeClr val="accent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353920" y="1489342"/>
            <a:ext cx="1578317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accent3"/>
                </a:solidFill>
              </a:rPr>
              <a:t>Test data</a:t>
            </a:r>
            <a:endParaRPr lang="en-US" sz="2400" dirty="0" err="1">
              <a:solidFill>
                <a:schemeClr val="accent3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38921" y="5585494"/>
            <a:ext cx="280831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accent3"/>
                </a:solidFill>
              </a:rPr>
              <a:t>Error rate = 22.5%</a:t>
            </a:r>
            <a:endParaRPr lang="en-US" sz="2400" dirty="0" err="1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889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ChangeAspect="1"/>
          </p:cNvSpPr>
          <p:nvPr/>
        </p:nvSpPr>
        <p:spPr bwMode="auto">
          <a:xfrm>
            <a:off x="-1634918" y="444781"/>
            <a:ext cx="6196152" cy="6196152"/>
          </a:xfrm>
          <a:prstGeom prst="ellipse">
            <a:avLst/>
          </a:prstGeom>
          <a:noFill/>
          <a:ln w="28575" cap="flat" cmpd="sng" algn="ctr">
            <a:solidFill>
              <a:srgbClr val="FFB9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>
              <a:defRPr/>
            </a:pPr>
            <a:r>
              <a:rPr lang="en-US" sz="66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What is</a:t>
            </a:r>
            <a:br>
              <a:rPr lang="en-US" sz="66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</a:br>
            <a:endParaRPr lang="en-US" sz="6600" kern="0">
              <a:solidFill>
                <a:schemeClr val="tx2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36538" y="295275"/>
            <a:ext cx="2955839" cy="1665121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5400" kern="1200" spc="-102" dirty="0">
                <a:ln w="3175">
                  <a:noFill/>
                </a:ln>
                <a:solidFill>
                  <a:schemeClr val="tx2"/>
                </a:solidFill>
                <a:latin typeface="+mj-lt"/>
                <a:ea typeface="ＭＳ Ｐゴシック" charset="0"/>
                <a:cs typeface="Segoe UI" pitchFamily="34" charset="0"/>
              </a:defRPr>
            </a:lvl1pPr>
            <a:lvl2pPr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2pPr>
            <a:lvl3pPr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3pPr>
            <a:lvl4pPr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4pPr>
            <a:lvl5pPr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5pPr>
            <a:lvl6pPr marL="457200"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6pPr>
            <a:lvl7pPr marL="914400"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7pPr>
            <a:lvl8pPr marL="1371600"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8pPr>
            <a:lvl9pPr marL="1828800" algn="l" defTabSz="9318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9pPr>
          </a:lstStyle>
          <a:p>
            <a:endParaRPr lang="en-US" sz="480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4412022" y="668287"/>
            <a:ext cx="7845541" cy="365760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9818" indent="-289818" defTabSz="932114">
              <a:spcAft>
                <a:spcPts val="612"/>
              </a:spcAft>
              <a:buFont typeface="Arial" panose="020B0604020202020204" pitchFamily="34" charset="0"/>
              <a:buChar char="•"/>
            </a:pPr>
            <a:r>
              <a:rPr lang="en-US" sz="2040">
                <a:solidFill>
                  <a:schemeClr val="tx1"/>
                </a:solidFill>
                <a:latin typeface="+mj-lt"/>
              </a:rPr>
              <a:t>A statistics programming languag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4412022" y="1024108"/>
            <a:ext cx="7845541" cy="365760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9818" indent="-289818" defTabSz="932114">
              <a:spcAft>
                <a:spcPts val="612"/>
              </a:spcAft>
              <a:buFont typeface="Arial" panose="020B0604020202020204" pitchFamily="34" charset="0"/>
              <a:buChar char="•"/>
            </a:pPr>
            <a:r>
              <a:rPr lang="en-US" sz="204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rPr>
              <a:t>A data visualization too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4412022" y="1379929"/>
            <a:ext cx="7845541" cy="365760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9818" indent="-289818" defTabSz="932114">
              <a:spcAft>
                <a:spcPts val="612"/>
              </a:spcAft>
              <a:buFont typeface="Arial" panose="020B0604020202020204" pitchFamily="34" charset="0"/>
              <a:buChar char="•"/>
            </a:pPr>
            <a:r>
              <a:rPr lang="en-US" sz="204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rPr>
              <a:t>Open source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5209040" y="2599170"/>
            <a:ext cx="7845541" cy="439850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9818" indent="-289818" defTabSz="932114">
              <a:spcAft>
                <a:spcPts val="612"/>
              </a:spcAft>
              <a:buFont typeface="Arial" panose="020B0604020202020204" pitchFamily="34" charset="0"/>
              <a:buChar char="•"/>
            </a:pPr>
            <a:r>
              <a:rPr lang="en-US" sz="2040">
                <a:solidFill>
                  <a:schemeClr val="tx1"/>
                </a:solidFill>
                <a:latin typeface="+mj-lt"/>
              </a:rPr>
              <a:t>2.5+M users 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5209040" y="2961324"/>
            <a:ext cx="7845541" cy="453347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9818" indent="-289818" defTabSz="932114">
              <a:spcAft>
                <a:spcPts val="612"/>
              </a:spcAft>
              <a:buFont typeface="Arial" panose="020B0604020202020204" pitchFamily="34" charset="0"/>
              <a:buChar char="•"/>
            </a:pPr>
            <a:r>
              <a:rPr lang="en-US" sz="2040">
                <a:solidFill>
                  <a:schemeClr val="tx1"/>
                </a:solidFill>
                <a:latin typeface="+mj-lt"/>
              </a:rPr>
              <a:t>Taught in most universities</a:t>
            </a:r>
            <a:endParaRPr lang="en-US" sz="2040">
              <a:solidFill>
                <a:schemeClr val="tx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209040" y="3696403"/>
            <a:ext cx="7845541" cy="397037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9818" indent="-289818" defTabSz="932114">
              <a:spcAft>
                <a:spcPts val="612"/>
              </a:spcAft>
              <a:buFont typeface="Arial" panose="020B0604020202020204" pitchFamily="34" charset="0"/>
              <a:buChar char="•"/>
            </a:pPr>
            <a:r>
              <a:rPr lang="en-US" sz="2040">
                <a:solidFill>
                  <a:schemeClr val="tx1"/>
                </a:solidFill>
                <a:latin typeface="+mj-lt"/>
              </a:rPr>
              <a:t>Thriving user groups worldwide</a:t>
            </a:r>
            <a:endParaRPr lang="en-US" sz="2040">
              <a:solidFill>
                <a:schemeClr val="tx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561232" y="4703710"/>
            <a:ext cx="8198423" cy="448737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9818" indent="-289818" defTabSz="932114">
              <a:spcAft>
                <a:spcPts val="612"/>
              </a:spcAft>
              <a:buFont typeface="Arial" panose="020B0604020202020204" pitchFamily="34" charset="0"/>
              <a:buChar char="•"/>
            </a:pPr>
            <a:r>
              <a:rPr lang="en-US" sz="2040">
                <a:solidFill>
                  <a:schemeClr val="tx1"/>
                </a:solidFill>
                <a:latin typeface="+mj-lt"/>
              </a:rPr>
              <a:t>10000+ free packages on CRAN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4561232" y="5055069"/>
            <a:ext cx="7845541" cy="453347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9818" indent="-289818" defTabSz="932114">
              <a:spcAft>
                <a:spcPts val="612"/>
              </a:spcAft>
              <a:buFont typeface="Arial" panose="020B0604020202020204" pitchFamily="34" charset="0"/>
              <a:buChar char="•"/>
            </a:pPr>
            <a:r>
              <a:rPr lang="en-US" sz="2040">
                <a:solidFill>
                  <a:schemeClr val="tx1"/>
                </a:solidFill>
                <a:latin typeface="+mj-lt"/>
              </a:rPr>
              <a:t>Scalable to big data</a:t>
            </a:r>
            <a:endParaRPr lang="en-US" sz="2040">
              <a:solidFill>
                <a:schemeClr val="tx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5209039" y="3329797"/>
            <a:ext cx="7845541" cy="397037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9818" indent="-289818" defTabSz="932114">
              <a:spcAft>
                <a:spcPts val="612"/>
              </a:spcAft>
              <a:buFont typeface="Arial" panose="020B0604020202020204" pitchFamily="34" charset="0"/>
              <a:buChar char="•"/>
            </a:pPr>
            <a:r>
              <a:rPr lang="en-US" sz="2040">
                <a:solidFill>
                  <a:schemeClr val="tx1"/>
                </a:solidFill>
                <a:latin typeface="+mj-lt"/>
              </a:rPr>
              <a:t>New and recent grads use it</a:t>
            </a:r>
            <a:endParaRPr lang="en-US" sz="2040">
              <a:solidFill>
                <a:schemeClr val="tx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/>
          <p:cNvSpPr>
            <a:spLocks noChangeAspect="1"/>
          </p:cNvSpPr>
          <p:nvPr/>
        </p:nvSpPr>
        <p:spPr bwMode="auto">
          <a:xfrm>
            <a:off x="2912702" y="623279"/>
            <a:ext cx="1499321" cy="1499321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accent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>
              <a:defRPr/>
            </a:pPr>
            <a:r>
              <a:rPr lang="en-US" sz="20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 Language </a:t>
            </a:r>
          </a:p>
          <a:p>
            <a:pPr algn="ctr" defTabSz="932114">
              <a:defRPr/>
            </a:pPr>
            <a:r>
              <a:rPr lang="en-US" sz="20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Platform</a:t>
            </a:r>
            <a:endParaRPr lang="en-US" sz="6600" kern="0">
              <a:solidFill>
                <a:schemeClr val="tx2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Oval 14"/>
          <p:cNvSpPr>
            <a:spLocks noChangeAspect="1"/>
          </p:cNvSpPr>
          <p:nvPr/>
        </p:nvSpPr>
        <p:spPr bwMode="auto">
          <a:xfrm>
            <a:off x="3709719" y="2575277"/>
            <a:ext cx="1499321" cy="1499321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accent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>
              <a:defRPr/>
            </a:pPr>
            <a:r>
              <a:rPr lang="en-US" sz="20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Community</a:t>
            </a:r>
          </a:p>
        </p:txBody>
      </p:sp>
      <p:sp>
        <p:nvSpPr>
          <p:cNvPr id="16" name="Oval 15"/>
          <p:cNvSpPr>
            <a:spLocks noChangeAspect="1"/>
          </p:cNvSpPr>
          <p:nvPr/>
        </p:nvSpPr>
        <p:spPr bwMode="auto">
          <a:xfrm>
            <a:off x="3061911" y="4516104"/>
            <a:ext cx="1499321" cy="1499321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accent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>
              <a:defRPr/>
            </a:pPr>
            <a:r>
              <a:rPr lang="en-US" sz="20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Ecosystem</a:t>
            </a:r>
            <a:endParaRPr lang="en-US" sz="6600" kern="0">
              <a:solidFill>
                <a:schemeClr val="tx2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561232" y="5411037"/>
            <a:ext cx="8198423" cy="448737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9818" indent="-289818" defTabSz="932114">
              <a:spcAft>
                <a:spcPts val="612"/>
              </a:spcAft>
              <a:buFont typeface="Arial" panose="020B0604020202020204" pitchFamily="34" charset="0"/>
              <a:buChar char="•"/>
            </a:pPr>
            <a:r>
              <a:rPr lang="en-US" sz="2040">
                <a:solidFill>
                  <a:schemeClr val="tx1"/>
                </a:solidFill>
                <a:latin typeface="+mj-lt"/>
              </a:rPr>
              <a:t>Rich application &amp; platform integration</a:t>
            </a:r>
          </a:p>
        </p:txBody>
      </p:sp>
      <p:pic>
        <p:nvPicPr>
          <p:cNvPr id="1026" name="Picture 2" descr="https://www.r-project.org/logo/R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658" y="3509362"/>
            <a:ext cx="1143000" cy="100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76367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500"/>
                            </p:stCondLst>
                            <p:childTnLst>
                              <p:par>
                                <p:cTn id="43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000"/>
                            </p:stCondLst>
                            <p:childTnLst>
                              <p:par>
                                <p:cTn id="48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000"/>
                            </p:stCondLst>
                            <p:childTnLst>
                              <p:par>
                                <p:cTn id="65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500"/>
                            </p:stCondLst>
                            <p:childTnLst>
                              <p:par>
                                <p:cTn id="70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 animBg="1"/>
      <p:bldP spid="15" grpId="0" animBg="1"/>
      <p:bldP spid="16" grpId="0" animBg="1"/>
      <p:bldP spid="17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flow out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Download catalog</a:t>
            </a:r>
          </a:p>
          <a:p>
            <a:r>
              <a:rPr lang="en-US"/>
              <a:t>Download individual image files</a:t>
            </a:r>
          </a:p>
          <a:p>
            <a:r>
              <a:rPr lang="en-US"/>
              <a:t>Fit (and refit) model</a:t>
            </a:r>
          </a:p>
          <a:p>
            <a:r>
              <a:rPr lang="en-US"/>
              <a:t>Export model to SQL</a:t>
            </a:r>
          </a:p>
          <a:p>
            <a:r>
              <a:rPr lang="en-US"/>
              <a:t>Deploy</a:t>
            </a:r>
          </a:p>
          <a:p>
            <a:r>
              <a:rPr lang="en-US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676549109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fit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library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(MicrosoftML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model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rxNeuralNet(class2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~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pixels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data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trainData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type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multiClass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 mlTransformVars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path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mlTransforms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list(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BitmapLoaderTransform{col=Image:path}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BitmapScalerTransform{col=bitmap:Image width=50 height=50}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PixelExtractorTransform{col=pixels:bitmap}"</a:t>
            </a:r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)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netDefinition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netDefinition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optimizer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sgd()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acceleration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gpu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miniBatchSize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256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numIterations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100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normalize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no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 initWtsDiameter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0.1, postTransformCache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Disk"</a:t>
            </a:r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2329805" y="754061"/>
            <a:ext cx="9145016" cy="3607297"/>
            <a:chOff x="2329805" y="754061"/>
            <a:chExt cx="9145016" cy="3607297"/>
          </a:xfrm>
        </p:grpSpPr>
        <p:sp>
          <p:nvSpPr>
            <p:cNvPr id="4" name="Oval 3"/>
            <p:cNvSpPr/>
            <p:nvPr/>
          </p:nvSpPr>
          <p:spPr bwMode="auto">
            <a:xfrm>
              <a:off x="2329805" y="3857302"/>
              <a:ext cx="1728192" cy="504056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6" name="Straight Arrow Connector 5"/>
            <p:cNvCxnSpPr>
              <a:cxnSpLocks/>
            </p:cNvCxnSpPr>
            <p:nvPr/>
          </p:nvCxnSpPr>
          <p:spPr>
            <a:xfrm flipH="1">
              <a:off x="3985989" y="2345134"/>
              <a:ext cx="4318115" cy="1656184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8306469" y="754061"/>
              <a:ext cx="3168352" cy="321934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r>
                <a:rPr lang="de-DE" sz="1000">
                  <a:solidFill>
                    <a:srgbClr val="000000"/>
                  </a:solidFill>
                  <a:latin typeface="Consolas" panose="020B0609020204030204" pitchFamily="49" charset="0"/>
                </a:rPr>
                <a:t>input pixels [3, 50, 50];</a:t>
              </a:r>
            </a:p>
            <a:p>
              <a:r>
                <a:rPr lang="en-AU" sz="1000">
                  <a:solidFill>
                    <a:srgbClr val="000000"/>
                  </a:solidFill>
                  <a:latin typeface="Consolas" panose="020B0609020204030204" pitchFamily="49" charset="0"/>
                </a:rPr>
                <a:t>hidden conv1 [64, 23, 23] rlinear from pixels convolve {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  InputShape  = [3, 50, 50];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  KernelShape = [3, 6, 6];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  Stride      = [1, 2, 2];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  Sharing     = [false, true, true];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  MapCount    = 64;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}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hidden norm1 [64, 23, 23]  from conv1 response norm {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  InputShape  = [64, 23, 23];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  KernelShape = [1, 1, 1];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  Alpha       = 1e-04;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  Beta        = 0.75;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  Offset      = 1;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  AvgOverFullKernel = true;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}</a:t>
              </a:r>
            </a:p>
            <a:p>
              <a:r>
                <a:rPr lang="en-US" sz="1000">
                  <a:solidFill>
                    <a:srgbClr val="000000"/>
                  </a:solidFill>
                  <a:latin typeface="Consolas" panose="020B0609020204030204" pitchFamily="49" charset="0"/>
                </a:rPr>
                <a:t>...</a:t>
              </a:r>
              <a:endParaRPr lang="en-US" sz="1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185789" y="4361358"/>
            <a:ext cx="8496944" cy="1124446"/>
            <a:chOff x="2185789" y="4361358"/>
            <a:chExt cx="8496944" cy="1124446"/>
          </a:xfrm>
        </p:grpSpPr>
        <p:sp>
          <p:nvSpPr>
            <p:cNvPr id="11" name="Oval 10"/>
            <p:cNvSpPr/>
            <p:nvPr/>
          </p:nvSpPr>
          <p:spPr bwMode="auto">
            <a:xfrm>
              <a:off x="2185789" y="4361358"/>
              <a:ext cx="864096" cy="720080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H="1" flipV="1">
              <a:off x="3049885" y="4721398"/>
              <a:ext cx="5254219" cy="216024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8304104" y="4525541"/>
              <a:ext cx="2378629" cy="960263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solidFill>
                    <a:schemeClr val="accent1"/>
                  </a:solidFill>
                </a:rPr>
                <a:t>GPU (CUDA) accelerated</a:t>
              </a:r>
              <a:endParaRPr lang="en-US" sz="2400" dirty="0" err="1">
                <a:solidFill>
                  <a:schemeClr val="accent1"/>
                </a:solidFill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61653" y="870743"/>
            <a:ext cx="10942866" cy="3164181"/>
            <a:chOff x="961653" y="870743"/>
            <a:chExt cx="10942866" cy="3164181"/>
          </a:xfrm>
        </p:grpSpPr>
        <p:sp>
          <p:nvSpPr>
            <p:cNvPr id="16" name="Oval 15"/>
            <p:cNvSpPr/>
            <p:nvPr/>
          </p:nvSpPr>
          <p:spPr bwMode="auto">
            <a:xfrm>
              <a:off x="961653" y="2486752"/>
              <a:ext cx="7056784" cy="1548172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20" name="Straight Arrow Connector 19"/>
            <p:cNvCxnSpPr>
              <a:cxnSpLocks/>
              <a:endCxn id="16" idx="7"/>
            </p:cNvCxnSpPr>
            <p:nvPr/>
          </p:nvCxnSpPr>
          <p:spPr>
            <a:xfrm flipH="1">
              <a:off x="6984995" y="1473120"/>
              <a:ext cx="2401596" cy="1240357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9384239" y="870743"/>
              <a:ext cx="2520280" cy="1292662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solidFill>
                    <a:schemeClr val="accent1"/>
                  </a:solidFill>
                </a:rPr>
                <a:t>Read images directly from disk</a:t>
              </a:r>
              <a:endParaRPr lang="en-US" sz="2400" dirty="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27676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ort model to 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library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(RevoScaleR)</a:t>
            </a:r>
          </a:p>
          <a:p>
            <a:endParaRPr lang="en-AU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galaxyModTable 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 RxSqlServerData(</a:t>
            </a:r>
            <a:r>
              <a:rPr lang="en-AU" sz="1600">
                <a:solidFill>
                  <a:srgbClr val="A31515"/>
                </a:solidFill>
                <a:latin typeface="Consolas" panose="020B0609020204030204" pitchFamily="49" charset="0"/>
              </a:rPr>
              <a:t>"galaxyModels"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, connectionString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deployDbConnStr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initObjectTable(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galaxyModels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 versionName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NULL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 connectionString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deployDbConnStr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writeGalaxyModel 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(model, name, table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galaxyModTable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if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(missing(name)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name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deparse(substitute(model)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rxWriteObject(table, name, model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writeGalaxyModel(model)</a:t>
            </a:r>
          </a:p>
          <a:p>
            <a:endParaRPr lang="en-US" sz="1600"/>
          </a:p>
        </p:txBody>
      </p:sp>
      <p:grpSp>
        <p:nvGrpSpPr>
          <p:cNvPr id="12" name="Group 11"/>
          <p:cNvGrpSpPr/>
          <p:nvPr/>
        </p:nvGrpSpPr>
        <p:grpSpPr>
          <a:xfrm>
            <a:off x="745629" y="3785294"/>
            <a:ext cx="10300438" cy="2012742"/>
            <a:chOff x="745629" y="3785294"/>
            <a:chExt cx="10300438" cy="2012742"/>
          </a:xfrm>
        </p:grpSpPr>
        <p:sp>
          <p:nvSpPr>
            <p:cNvPr id="4" name="Oval 3"/>
            <p:cNvSpPr/>
            <p:nvPr/>
          </p:nvSpPr>
          <p:spPr bwMode="auto">
            <a:xfrm>
              <a:off x="745629" y="3785294"/>
              <a:ext cx="3744416" cy="720080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6" name="Straight Arrow Connector 5"/>
            <p:cNvCxnSpPr>
              <a:cxnSpLocks/>
            </p:cNvCxnSpPr>
            <p:nvPr/>
          </p:nvCxnSpPr>
          <p:spPr>
            <a:xfrm flipH="1" flipV="1">
              <a:off x="4346029" y="4289350"/>
              <a:ext cx="3672408" cy="802288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8018437" y="4505374"/>
              <a:ext cx="3027630" cy="1292662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solidFill>
                    <a:schemeClr val="accent1"/>
                  </a:solidFill>
                </a:rPr>
                <a:t>Serialise any R object to a database table</a:t>
              </a:r>
              <a:endParaRPr lang="en-US" sz="2400" dirty="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37712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diction function (simplified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spBasePredictGalaxyClass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(model, imgData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AU" sz="1600">
                <a:solidFill>
                  <a:srgbClr val="008000"/>
                </a:solidFill>
                <a:latin typeface="Consolas" panose="020B0609020204030204" pitchFamily="49" charset="0"/>
              </a:rPr>
              <a:t>    # for each image, preprocess the file and store it</a:t>
            </a:r>
            <a:endParaRPr lang="en-AU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    path 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 sapply(seq_len(nrow(imgData)), 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(i) {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inFile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tempfile(fileext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.jpg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outFile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tempfile(fileext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.jpg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endParaRPr lang="en-AU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writeBin(imgData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$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img[[i]], inFile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imager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::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load.image(inFile)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%&gt;%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endParaRPr lang="en-AU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    cropGalaxy(0.26)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%&gt;%</a:t>
            </a:r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    resizeGalaxy(c(50, 50))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%&gt;%</a:t>
            </a:r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fr-FR" sz="1600">
                <a:solidFill>
                  <a:srgbClr val="000000"/>
                </a:solidFill>
                <a:latin typeface="Consolas" panose="020B0609020204030204" pitchFamily="49" charset="0"/>
              </a:rPr>
              <a:t>            imager</a:t>
            </a:r>
            <a:r>
              <a:rPr lang="fr-FR" sz="1600">
                <a:solidFill>
                  <a:srgbClr val="0000FF"/>
                </a:solidFill>
                <a:latin typeface="Consolas" panose="020B0609020204030204" pitchFamily="49" charset="0"/>
              </a:rPr>
              <a:t>::</a:t>
            </a:r>
            <a:r>
              <a:rPr lang="fr-FR" sz="1600">
                <a:solidFill>
                  <a:srgbClr val="000000"/>
                </a:solidFill>
                <a:latin typeface="Consolas" panose="020B0609020204030204" pitchFamily="49" charset="0"/>
              </a:rPr>
              <a:t>save.image(outFile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outFile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}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imgData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data.frame(galclass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 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 path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path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model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rxReadObject(</a:t>
            </a:r>
            <a:r>
              <a:rPr lang="en-US" sz="1600">
                <a:solidFill>
                  <a:srgbClr val="008080"/>
                </a:solidFill>
                <a:latin typeface="Consolas" panose="020B0609020204030204" pitchFamily="49" charset="0"/>
              </a:rPr>
              <a:t>as.raw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(model)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rxPredict(model, imgData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961653" y="1842819"/>
            <a:ext cx="10153128" cy="3382635"/>
            <a:chOff x="961653" y="1842819"/>
            <a:chExt cx="10153128" cy="3382635"/>
          </a:xfrm>
        </p:grpSpPr>
        <p:sp>
          <p:nvSpPr>
            <p:cNvPr id="4" name="Oval 3"/>
            <p:cNvSpPr/>
            <p:nvPr/>
          </p:nvSpPr>
          <p:spPr bwMode="auto">
            <a:xfrm>
              <a:off x="961653" y="3209230"/>
              <a:ext cx="4752528" cy="2016224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6" name="Straight Arrow Connector 5"/>
            <p:cNvCxnSpPr>
              <a:cxnSpLocks/>
            </p:cNvCxnSpPr>
            <p:nvPr/>
          </p:nvCxnSpPr>
          <p:spPr>
            <a:xfrm flipH="1">
              <a:off x="5282133" y="2489150"/>
              <a:ext cx="2736304" cy="1136245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8018437" y="1842819"/>
              <a:ext cx="3096344" cy="1292662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solidFill>
                    <a:schemeClr val="accent1"/>
                  </a:solidFill>
                </a:rPr>
                <a:t>Use open source imager package for image processing</a:t>
              </a:r>
              <a:endParaRPr lang="en-US" sz="2400" dirty="0" err="1">
                <a:solidFill>
                  <a:schemeClr val="accent1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681733" y="4271726"/>
            <a:ext cx="9217024" cy="1673808"/>
            <a:chOff x="1681733" y="4271726"/>
            <a:chExt cx="9217024" cy="1673808"/>
          </a:xfrm>
        </p:grpSpPr>
        <p:sp>
          <p:nvSpPr>
            <p:cNvPr id="10" name="Oval 9"/>
            <p:cNvSpPr/>
            <p:nvPr/>
          </p:nvSpPr>
          <p:spPr bwMode="auto">
            <a:xfrm>
              <a:off x="1681733" y="5421078"/>
              <a:ext cx="3456384" cy="524456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12" name="Straight Arrow Connector 11"/>
            <p:cNvCxnSpPr/>
            <p:nvPr/>
          </p:nvCxnSpPr>
          <p:spPr>
            <a:xfrm flipH="1">
              <a:off x="4778077" y="4937422"/>
              <a:ext cx="3168352" cy="576064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7946429" y="4271726"/>
              <a:ext cx="2952328" cy="1292662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solidFill>
                    <a:schemeClr val="accent1"/>
                  </a:solidFill>
                </a:rPr>
                <a:t>Unserialise R object previously saved to database</a:t>
              </a:r>
              <a:endParaRPr lang="en-US" sz="2400" dirty="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68749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ort code to 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library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(sqlrutils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spPredictGalaxyClass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StoredProcedure(spBasePredictGalaxyClass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spName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predictGalaxyClass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InputData(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imgData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    defaultQuery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select * from galaxyImgData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)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InputParameter(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model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raw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        defaultQuery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AU" sz="1600">
                <a:solidFill>
                  <a:srgbClr val="A31515"/>
                </a:solidFill>
                <a:latin typeface="Consolas" panose="020B0609020204030204" pitchFamily="49" charset="0"/>
              </a:rPr>
              <a:t>"select value from galaxyModels where id='model'"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),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connectionString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deployDbConnStr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registerStoredProcedure(spPredictGalaxyClass, deployDbConnStr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en-US" sz="1600"/>
          </a:p>
        </p:txBody>
      </p:sp>
      <p:grpSp>
        <p:nvGrpSpPr>
          <p:cNvPr id="8" name="Group 7"/>
          <p:cNvGrpSpPr/>
          <p:nvPr/>
        </p:nvGrpSpPr>
        <p:grpSpPr>
          <a:xfrm>
            <a:off x="2833861" y="906715"/>
            <a:ext cx="8712968" cy="1366411"/>
            <a:chOff x="2833861" y="906715"/>
            <a:chExt cx="8712968" cy="1366411"/>
          </a:xfrm>
        </p:grpSpPr>
        <p:sp>
          <p:nvSpPr>
            <p:cNvPr id="4" name="Oval 3"/>
            <p:cNvSpPr/>
            <p:nvPr/>
          </p:nvSpPr>
          <p:spPr bwMode="auto">
            <a:xfrm>
              <a:off x="2833861" y="1625054"/>
              <a:ext cx="2160240" cy="648072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6" name="Straight Arrow Connector 5"/>
            <p:cNvCxnSpPr/>
            <p:nvPr/>
          </p:nvCxnSpPr>
          <p:spPr>
            <a:xfrm flipH="1">
              <a:off x="4922093" y="1553046"/>
              <a:ext cx="3600400" cy="288032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8522493" y="906715"/>
              <a:ext cx="3024336" cy="1292662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solidFill>
                    <a:schemeClr val="accent1"/>
                  </a:solidFill>
                </a:rPr>
                <a:t>Generate T-SQL code to create a stored procedure</a:t>
              </a:r>
              <a:endParaRPr lang="en-US" sz="2400" dirty="0" err="1">
                <a:solidFill>
                  <a:schemeClr val="accent1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69565" y="4001318"/>
            <a:ext cx="11377264" cy="1680343"/>
            <a:chOff x="169565" y="4001318"/>
            <a:chExt cx="11377264" cy="1680343"/>
          </a:xfrm>
        </p:grpSpPr>
        <p:sp>
          <p:nvSpPr>
            <p:cNvPr id="9" name="Oval 8"/>
            <p:cNvSpPr/>
            <p:nvPr/>
          </p:nvSpPr>
          <p:spPr bwMode="auto">
            <a:xfrm>
              <a:off x="169565" y="4001318"/>
              <a:ext cx="7200800" cy="720080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11" name="Straight Arrow Connector 10"/>
            <p:cNvCxnSpPr>
              <a:cxnSpLocks/>
              <a:stCxn id="12" idx="1"/>
            </p:cNvCxnSpPr>
            <p:nvPr/>
          </p:nvCxnSpPr>
          <p:spPr>
            <a:xfrm flipH="1" flipV="1">
              <a:off x="7082333" y="4505374"/>
              <a:ext cx="1656184" cy="696156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8738517" y="4721398"/>
              <a:ext cx="2808312" cy="960263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solidFill>
                    <a:schemeClr val="accent1"/>
                  </a:solidFill>
                </a:rPr>
                <a:t>Execute the generated code</a:t>
              </a:r>
              <a:endParaRPr lang="en-US" sz="2400" dirty="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7178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ploy code to call 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library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(mrsdeploy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remoteLogin(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https://example.com:12800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apiPredictGalaxyClass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(id, img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imgData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data.frame(specobjid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id, img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img, stringsAsFactors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FALSE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sqlImgData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RxSqlServerData(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galaxyImgData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   rxDataStep(imgData, sqlImgData, overwrite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TRUE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    sqlrutils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::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executeStoredProcedure(spPredictGalaxyClass)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$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data</a:t>
            </a: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apiGalaxyModel 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&lt;-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 publishService(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apiPredictGalaxyClass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 apiPredictGalaxyClass, 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spPredictGalaxyClass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    inputs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list(id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AU" sz="1600">
                <a:solidFill>
                  <a:srgbClr val="A31515"/>
                </a:solidFill>
                <a:latin typeface="Consolas" panose="020B0609020204030204" pitchFamily="49" charset="0"/>
              </a:rPr>
              <a:t>"character"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, img</a:t>
            </a:r>
            <a:r>
              <a:rPr lang="en-AU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AU" sz="1600">
                <a:solidFill>
                  <a:srgbClr val="A31515"/>
                </a:solidFill>
                <a:latin typeface="Consolas" panose="020B0609020204030204" pitchFamily="49" charset="0"/>
              </a:rPr>
              <a:t>"character"</a:t>
            </a:r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),</a:t>
            </a:r>
          </a:p>
          <a:p>
            <a:r>
              <a:rPr lang="en-AU" sz="160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outputs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list(pred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data.frame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cat(apiGalaxyModel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$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swagger(), file</a:t>
            </a:r>
            <a:r>
              <a:rPr lang="en-US" sz="160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1600">
                <a:solidFill>
                  <a:srgbClr val="A31515"/>
                </a:solidFill>
                <a:latin typeface="Consolas" panose="020B0609020204030204" pitchFamily="49" charset="0"/>
              </a:rPr>
              <a:t>"swagPredictGalaxyClass.json"</a:t>
            </a:r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600">
                <a:solidFill>
                  <a:srgbClr val="000000"/>
                </a:solidFill>
                <a:latin typeface="Consolas" panose="020B0609020204030204" pitchFamily="49" charset="0"/>
              </a:rPr>
              <a:t>remoteLogout()</a:t>
            </a:r>
          </a:p>
          <a:p>
            <a:endParaRPr lang="en-US" sz="16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en-US" sz="1600"/>
          </a:p>
        </p:txBody>
      </p:sp>
      <p:grpSp>
        <p:nvGrpSpPr>
          <p:cNvPr id="8" name="Group 7"/>
          <p:cNvGrpSpPr/>
          <p:nvPr/>
        </p:nvGrpSpPr>
        <p:grpSpPr>
          <a:xfrm>
            <a:off x="272273" y="876864"/>
            <a:ext cx="10914516" cy="1396262"/>
            <a:chOff x="272273" y="876864"/>
            <a:chExt cx="10914516" cy="1396262"/>
          </a:xfrm>
        </p:grpSpPr>
        <p:sp>
          <p:nvSpPr>
            <p:cNvPr id="4" name="Oval 3"/>
            <p:cNvSpPr/>
            <p:nvPr/>
          </p:nvSpPr>
          <p:spPr bwMode="auto">
            <a:xfrm>
              <a:off x="272273" y="1697062"/>
              <a:ext cx="4719463" cy="576064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6" name="Straight Arrow Connector 5"/>
            <p:cNvCxnSpPr>
              <a:cxnSpLocks/>
            </p:cNvCxnSpPr>
            <p:nvPr/>
          </p:nvCxnSpPr>
          <p:spPr>
            <a:xfrm flipH="1">
              <a:off x="4634061" y="1212849"/>
              <a:ext cx="2808312" cy="624278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7442373" y="876864"/>
              <a:ext cx="3744416" cy="960263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solidFill>
                    <a:schemeClr val="accent1"/>
                  </a:solidFill>
                </a:rPr>
                <a:t>Login to the remote R server</a:t>
              </a:r>
              <a:endParaRPr lang="en-US" sz="2400" dirty="0" err="1">
                <a:solidFill>
                  <a:schemeClr val="accent1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45629" y="2152982"/>
            <a:ext cx="10873208" cy="2136368"/>
            <a:chOff x="745629" y="2152982"/>
            <a:chExt cx="10873208" cy="2136368"/>
          </a:xfrm>
        </p:grpSpPr>
        <p:sp>
          <p:nvSpPr>
            <p:cNvPr id="10" name="Oval 9"/>
            <p:cNvSpPr/>
            <p:nvPr/>
          </p:nvSpPr>
          <p:spPr bwMode="auto">
            <a:xfrm>
              <a:off x="745629" y="3425254"/>
              <a:ext cx="6408712" cy="864096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12" name="Straight Arrow Connector 11"/>
            <p:cNvCxnSpPr>
              <a:cxnSpLocks/>
              <a:stCxn id="13" idx="1"/>
            </p:cNvCxnSpPr>
            <p:nvPr/>
          </p:nvCxnSpPr>
          <p:spPr>
            <a:xfrm flipH="1">
              <a:off x="6650285" y="2633114"/>
              <a:ext cx="1800200" cy="1008164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8450485" y="2152982"/>
              <a:ext cx="3168352" cy="960263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solidFill>
                    <a:schemeClr val="accent1"/>
                  </a:solidFill>
                </a:rPr>
                <a:t>Call the stored proc created earlier</a:t>
              </a:r>
              <a:endParaRPr lang="en-US" sz="2400" dirty="0" err="1">
                <a:solidFill>
                  <a:schemeClr val="accent1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897757" y="3212728"/>
            <a:ext cx="10081120" cy="1736643"/>
            <a:chOff x="1897757" y="3212728"/>
            <a:chExt cx="10081120" cy="1736643"/>
          </a:xfrm>
        </p:grpSpPr>
        <p:sp>
          <p:nvSpPr>
            <p:cNvPr id="14" name="Oval 13"/>
            <p:cNvSpPr/>
            <p:nvPr/>
          </p:nvSpPr>
          <p:spPr bwMode="auto">
            <a:xfrm>
              <a:off x="1897757" y="4301299"/>
              <a:ext cx="3528392" cy="648072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16" name="Straight Arrow Connector 15"/>
            <p:cNvCxnSpPr>
              <a:cxnSpLocks/>
              <a:stCxn id="18" idx="1"/>
            </p:cNvCxnSpPr>
            <p:nvPr/>
          </p:nvCxnSpPr>
          <p:spPr>
            <a:xfrm flipH="1">
              <a:off x="5210125" y="3859059"/>
              <a:ext cx="3312368" cy="646331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8522493" y="3212728"/>
              <a:ext cx="3456384" cy="1292662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solidFill>
                    <a:schemeClr val="accent1"/>
                  </a:solidFill>
                </a:rPr>
                <a:t>Create a web service with defined inputs and outputs</a:t>
              </a:r>
              <a:endParaRPr lang="en-US" sz="2400" dirty="0" err="1">
                <a:solidFill>
                  <a:schemeClr val="accent1"/>
                </a:solidFill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745629" y="4871909"/>
            <a:ext cx="11056169" cy="1217641"/>
            <a:chOff x="745629" y="4871909"/>
            <a:chExt cx="11056169" cy="1217641"/>
          </a:xfrm>
        </p:grpSpPr>
        <p:sp>
          <p:nvSpPr>
            <p:cNvPr id="25" name="Oval 24"/>
            <p:cNvSpPr/>
            <p:nvPr/>
          </p:nvSpPr>
          <p:spPr bwMode="auto">
            <a:xfrm>
              <a:off x="745629" y="5297462"/>
              <a:ext cx="3024336" cy="792088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27" name="Straight Arrow Connector 26"/>
            <p:cNvCxnSpPr>
              <a:cxnSpLocks/>
            </p:cNvCxnSpPr>
            <p:nvPr/>
          </p:nvCxnSpPr>
          <p:spPr>
            <a:xfrm flipH="1">
              <a:off x="3697957" y="5349640"/>
              <a:ext cx="4291317" cy="235854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/>
            <p:cNvSpPr txBox="1"/>
            <p:nvPr/>
          </p:nvSpPr>
          <p:spPr>
            <a:xfrm>
              <a:off x="7985374" y="4871909"/>
              <a:ext cx="3816424" cy="960263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solidFill>
                    <a:schemeClr val="accent1"/>
                  </a:solidFill>
                </a:rPr>
                <a:t>Generate Swagger JSON to represent API</a:t>
              </a:r>
              <a:endParaRPr lang="en-US" sz="2400" dirty="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38391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4638" y="2633166"/>
            <a:ext cx="10552111" cy="1181862"/>
          </a:xfrm>
        </p:spPr>
        <p:txBody>
          <a:bodyPr/>
          <a:lstStyle/>
          <a:p>
            <a:r>
              <a:rPr lang="en-US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875053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ckages us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RevoScaleR</a:t>
            </a:r>
          </a:p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MicrosoftML</a:t>
            </a:r>
          </a:p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sqlrutils</a:t>
            </a:r>
          </a:p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mrsdeploy</a:t>
            </a:r>
          </a:p>
          <a:p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r>
              <a:rPr lang="en-US">
                <a:solidFill>
                  <a:schemeClr val="accent2"/>
                </a:solidFill>
              </a:rPr>
              <a:t>(RTVS)</a:t>
            </a:r>
          </a:p>
          <a:p>
            <a:r>
              <a:rPr lang="en-US">
                <a:solidFill>
                  <a:schemeClr val="accent2"/>
                </a:solidFill>
              </a:rPr>
              <a:t>(autore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0C0"/>
                </a:solidFill>
              </a:rPr>
              <a:t>dplyr (+magrittr)</a:t>
            </a:r>
          </a:p>
          <a:p>
            <a:r>
              <a:rPr lang="en-US">
                <a:solidFill>
                  <a:srgbClr val="0070C0"/>
                </a:solidFill>
              </a:rPr>
              <a:t>imager</a:t>
            </a:r>
          </a:p>
          <a:p>
            <a:r>
              <a:rPr lang="en-US">
                <a:solidFill>
                  <a:srgbClr val="0070C0"/>
                </a:solidFill>
              </a:rPr>
              <a:t>shiny</a:t>
            </a:r>
          </a:p>
          <a:p>
            <a:r>
              <a:rPr lang="en-US">
                <a:solidFill>
                  <a:srgbClr val="0070C0"/>
                </a:solidFill>
              </a:rPr>
              <a:t>RODBC</a:t>
            </a:r>
          </a:p>
        </p:txBody>
      </p:sp>
    </p:spTree>
    <p:extLst>
      <p:ext uri="{BB962C8B-B14F-4D97-AF65-F5344CB8AC3E}">
        <p14:creationId xmlns:p14="http://schemas.microsoft.com/office/powerpoint/2010/main" val="3611983568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nk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>
                <a:latin typeface="+mn-lt"/>
              </a:rPr>
              <a:t>Microsoft R Server: </a:t>
            </a:r>
            <a:r>
              <a:rPr lang="en-US" sz="2400">
                <a:latin typeface="+mn-lt"/>
                <a:hlinkClick r:id="rId2"/>
              </a:rPr>
              <a:t>https://www.microsoft.com/en-au/cloud-platform/r-server</a:t>
            </a:r>
            <a:endParaRPr lang="en-US" sz="2400">
              <a:latin typeface="+mn-lt"/>
            </a:endParaRPr>
          </a:p>
          <a:p>
            <a:endParaRPr lang="en-US" sz="2400">
              <a:latin typeface="+mn-lt"/>
            </a:endParaRPr>
          </a:p>
          <a:p>
            <a:pPr lvl="0"/>
            <a:r>
              <a:rPr lang="en-US" sz="2400">
                <a:gradFill>
                  <a:gsLst>
                    <a:gs pos="1250">
                      <a:srgbClr val="505050"/>
                    </a:gs>
                    <a:gs pos="99000">
                      <a:srgbClr val="505050"/>
                    </a:gs>
                  </a:gsLst>
                  <a:lin ang="5400000" scaled="0"/>
                </a:gradFill>
                <a:latin typeface="Segoe UI"/>
              </a:rPr>
              <a:t>Team Data Science Process: </a:t>
            </a:r>
            <a:r>
              <a:rPr lang="en-US" sz="2400">
                <a:gradFill>
                  <a:gsLst>
                    <a:gs pos="1250">
                      <a:srgbClr val="505050"/>
                    </a:gs>
                    <a:gs pos="99000">
                      <a:srgbClr val="505050"/>
                    </a:gs>
                  </a:gsLst>
                  <a:lin ang="5400000" scaled="0"/>
                </a:gradFill>
                <a:latin typeface="Segoe UI"/>
                <a:hlinkClick r:id="rId3"/>
              </a:rPr>
              <a:t>https://github.com/Azure/Microsoft-TDSP</a:t>
            </a:r>
            <a:r>
              <a:rPr lang="en-US" sz="2400">
                <a:gradFill>
                  <a:gsLst>
                    <a:gs pos="1250">
                      <a:srgbClr val="505050"/>
                    </a:gs>
                    <a:gs pos="99000">
                      <a:srgbClr val="505050"/>
                    </a:gs>
                  </a:gsLst>
                  <a:lin ang="5400000" scaled="0"/>
                </a:gradFill>
                <a:latin typeface="Segoe UI"/>
              </a:rPr>
              <a:t> </a:t>
            </a:r>
          </a:p>
          <a:p>
            <a:endParaRPr lang="en-US" sz="2400">
              <a:latin typeface="+mn-lt"/>
            </a:endParaRPr>
          </a:p>
          <a:p>
            <a:r>
              <a:rPr lang="en-US" sz="2400">
                <a:latin typeface="+mn-lt"/>
              </a:rPr>
              <a:t>Sloan Digital Sky Survey: </a:t>
            </a:r>
          </a:p>
          <a:p>
            <a:pPr marL="457200"/>
            <a:r>
              <a:rPr lang="en-US" sz="2400">
                <a:latin typeface="+mn-lt"/>
                <a:hlinkClick r:id="rId4"/>
              </a:rPr>
              <a:t>http://www.sdss.org/</a:t>
            </a:r>
            <a:r>
              <a:rPr lang="en-US" sz="2400">
                <a:latin typeface="+mn-lt"/>
              </a:rPr>
              <a:t> </a:t>
            </a:r>
          </a:p>
          <a:p>
            <a:pPr marL="457200"/>
            <a:r>
              <a:rPr lang="en-US" sz="2400">
                <a:latin typeface="+mn-lt"/>
                <a:hlinkClick r:id="rId5"/>
              </a:rPr>
              <a:t>https://www.galaxyzoo.</a:t>
            </a:r>
            <a:r>
              <a:rPr lang="en-US" sz="2400">
                <a:latin typeface="+mn-lt"/>
                <a:hlinkClick r:id="rId5"/>
              </a:rPr>
              <a:t>org/</a:t>
            </a:r>
            <a:r>
              <a:rPr lang="en-US" sz="2400">
                <a:latin typeface="+mn-lt"/>
              </a:rPr>
              <a:t> </a:t>
            </a:r>
          </a:p>
          <a:p>
            <a:pPr marL="457200"/>
            <a:r>
              <a:rPr lang="en-US" sz="2400">
                <a:latin typeface="+mn-lt"/>
                <a:hlinkClick r:id="rId6"/>
              </a:rPr>
              <a:t>https</a:t>
            </a:r>
            <a:r>
              <a:rPr lang="en-US" sz="2400">
                <a:latin typeface="+mn-lt"/>
                <a:hlinkClick r:id="rId6"/>
              </a:rPr>
              <a:t>://demosgallery.azurewebsites.net/#story</a:t>
            </a:r>
            <a:r>
              <a:rPr lang="en-US" sz="2400">
                <a:latin typeface="+mn-lt"/>
                <a:hlinkClick r:id="rId6"/>
              </a:rPr>
              <a:t>/galaxy</a:t>
            </a:r>
            <a:endParaRPr lang="en-US" sz="2400">
              <a:latin typeface="+mn-lt"/>
            </a:endParaRPr>
          </a:p>
          <a:p>
            <a:pPr marL="457200"/>
            <a:r>
              <a:rPr lang="en-US" sz="2400">
                <a:latin typeface="+mn-lt"/>
                <a:hlinkClick r:id="rId7"/>
              </a:rPr>
              <a:t>https</a:t>
            </a:r>
            <a:r>
              <a:rPr lang="en-US" sz="2400">
                <a:latin typeface="+mn-lt"/>
                <a:hlinkClick r:id="rId7"/>
              </a:rPr>
              <a:t>://blogs.technet.microsoft.com/dataplatforminsider/2016/03/10/</a:t>
            </a:r>
            <a:r>
              <a:rPr lang="en-US" sz="2400">
                <a:latin typeface="+mn-lt"/>
                <a:hlinkClick r:id="rId7"/>
              </a:rPr>
              <a:t>mapping-the-universe-with-sql-server/</a:t>
            </a:r>
            <a:r>
              <a:rPr lang="en-US" sz="2400">
                <a:latin typeface="+mn-lt"/>
              </a:rPr>
              <a:t> </a:t>
            </a:r>
            <a:endParaRPr lang="en-US" sz="2400">
              <a:latin typeface="+mn-lt"/>
            </a:endParaRPr>
          </a:p>
          <a:p>
            <a:endParaRPr lang="en-US" sz="2400">
              <a:latin typeface="+mn-lt"/>
            </a:endParaRPr>
          </a:p>
          <a:p>
            <a:endParaRPr lang="en-US" sz="24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3546617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241573" y="1553046"/>
            <a:ext cx="8784976" cy="10081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27432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lvl="0">
              <a:lnSpc>
                <a:spcPct val="90000"/>
              </a:lnSpc>
              <a:spcBef>
                <a:spcPts val="1800"/>
              </a:spcBef>
              <a:buSzPct val="90000"/>
            </a:pPr>
            <a:r>
              <a:rPr lang="en-US" sz="2000" dirty="0">
                <a:solidFill>
                  <a:srgbClr val="FFFFFF"/>
                </a:solidFill>
                <a:latin typeface="Segoe UI Light"/>
                <a:cs typeface="Segoe Pro Light"/>
              </a:rPr>
              <a:t>Visit Channel 9 to access a wide range of Microsoft training </a:t>
            </a:r>
            <a:br>
              <a:rPr lang="en-US" sz="2000" dirty="0">
                <a:solidFill>
                  <a:srgbClr val="FFFFFF"/>
                </a:solidFill>
                <a:latin typeface="Segoe UI Light"/>
                <a:cs typeface="Segoe Pro Light"/>
              </a:rPr>
            </a:br>
            <a:r>
              <a:rPr lang="en-US" sz="2000" dirty="0">
                <a:solidFill>
                  <a:srgbClr val="FFFFFF"/>
                </a:solidFill>
                <a:latin typeface="Segoe UI Light"/>
                <a:cs typeface="Segoe Pro Light"/>
              </a:rPr>
              <a:t>and event recordings </a:t>
            </a:r>
            <a:r>
              <a:rPr lang="en-AU" sz="2000" b="1" dirty="0">
                <a:solidFill>
                  <a:srgbClr val="FFFFFF"/>
                </a:solidFill>
                <a:latin typeface="Segoe UI Light"/>
                <a:cs typeface="Segoe Pro Light"/>
              </a:rPr>
              <a:t>https://channel9.msdn.com/</a:t>
            </a: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241573" y="2777182"/>
            <a:ext cx="8784976" cy="10081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27432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180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  <a:cs typeface="Segoe Pro Light"/>
              </a:rPr>
              <a:t>Head to the TechNet </a:t>
            </a:r>
            <a:r>
              <a:rPr lang="en-US" sz="2000" dirty="0" err="1">
                <a:solidFill>
                  <a:schemeClr val="bg1"/>
                </a:solidFill>
                <a:latin typeface="+mj-lt"/>
                <a:cs typeface="Segoe Pro Light"/>
              </a:rPr>
              <a:t>Eval</a:t>
            </a:r>
            <a:r>
              <a:rPr lang="en-US" sz="2000" dirty="0">
                <a:solidFill>
                  <a:schemeClr val="bg1"/>
                </a:solidFill>
                <a:latin typeface="+mj-lt"/>
                <a:cs typeface="Segoe Pro Light"/>
              </a:rPr>
              <a:t> Centre to download trials of the latest </a:t>
            </a:r>
            <a:br>
              <a:rPr lang="en-US" sz="2000" dirty="0">
                <a:solidFill>
                  <a:schemeClr val="bg1"/>
                </a:solidFill>
                <a:latin typeface="+mj-lt"/>
                <a:cs typeface="Segoe Pro Ligh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  <a:cs typeface="Segoe Pro Light"/>
              </a:rPr>
              <a:t>Microsoft products </a:t>
            </a:r>
            <a:r>
              <a:rPr lang="en-US" sz="2000" b="1" dirty="0">
                <a:solidFill>
                  <a:schemeClr val="bg1"/>
                </a:solidFill>
                <a:latin typeface="+mj-lt"/>
                <a:cs typeface="Segoe Pro Light"/>
              </a:rPr>
              <a:t>http://</a:t>
            </a:r>
            <a:r>
              <a:rPr lang="en-US" sz="2000" b="1" dirty="0" err="1">
                <a:solidFill>
                  <a:schemeClr val="bg1"/>
                </a:solidFill>
                <a:latin typeface="+mj-lt"/>
                <a:cs typeface="Segoe Pro Light"/>
              </a:rPr>
              <a:t>Microsoft.com</a:t>
            </a:r>
            <a:r>
              <a:rPr lang="en-US" sz="2000" b="1" dirty="0">
                <a:solidFill>
                  <a:schemeClr val="bg1"/>
                </a:solidFill>
                <a:latin typeface="+mj-lt"/>
                <a:cs typeface="Segoe Pro Light"/>
              </a:rPr>
              <a:t>/en-us/</a:t>
            </a:r>
            <a:r>
              <a:rPr lang="en-US" sz="2000" b="1" dirty="0" err="1">
                <a:solidFill>
                  <a:schemeClr val="bg1"/>
                </a:solidFill>
                <a:latin typeface="+mj-lt"/>
                <a:cs typeface="Segoe Pro Light"/>
              </a:rPr>
              <a:t>evalcenter</a:t>
            </a:r>
            <a:r>
              <a:rPr lang="en-US" sz="2000" b="1" dirty="0">
                <a:solidFill>
                  <a:schemeClr val="bg1"/>
                </a:solidFill>
                <a:latin typeface="+mj-lt"/>
                <a:cs typeface="Segoe Pro Light"/>
              </a:rPr>
              <a:t>/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241573" y="4001318"/>
            <a:ext cx="8784976" cy="10081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27432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bg1"/>
                </a:solidFill>
                <a:latin typeface="+mj-lt"/>
                <a:cs typeface="Segoe Pro Light"/>
              </a:rPr>
              <a:t>Visit Microsoft Virtual Academy for free online training visit </a:t>
            </a:r>
            <a:br>
              <a:rPr lang="en-US" sz="2000" dirty="0">
                <a:solidFill>
                  <a:schemeClr val="bg1"/>
                </a:solidFill>
                <a:latin typeface="+mj-lt"/>
                <a:cs typeface="Segoe Pro Light"/>
              </a:rPr>
            </a:br>
            <a:r>
              <a:rPr lang="en-AU" sz="2000" b="1" dirty="0">
                <a:solidFill>
                  <a:schemeClr val="bg1"/>
                </a:solidFill>
                <a:latin typeface="+mj-lt"/>
                <a:cs typeface="Segoe Pro Light"/>
              </a:rPr>
              <a:t>https://</a:t>
            </a:r>
            <a:r>
              <a:rPr lang="en-AU" sz="2000" b="1" dirty="0" err="1">
                <a:solidFill>
                  <a:schemeClr val="bg1"/>
                </a:solidFill>
                <a:latin typeface="+mj-lt"/>
                <a:cs typeface="Segoe Pro Light"/>
              </a:rPr>
              <a:t>www.microsoftvirtualacademy.com</a:t>
            </a: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>
                <a:solidFill>
                  <a:srgbClr val="D83B01"/>
                </a:solidFill>
              </a:rPr>
              <a:t>Continue your Ignite learning path</a:t>
            </a:r>
          </a:p>
        </p:txBody>
      </p:sp>
    </p:spTree>
    <p:extLst>
      <p:ext uri="{BB962C8B-B14F-4D97-AF65-F5344CB8AC3E}">
        <p14:creationId xmlns:p14="http://schemas.microsoft.com/office/powerpoint/2010/main" val="339374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llenges posed by open source R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493262" y="1910167"/>
            <a:ext cx="2468880" cy="2468880"/>
            <a:chOff x="4190125" y="3176906"/>
            <a:chExt cx="2468880" cy="2468880"/>
          </a:xfrm>
        </p:grpSpPr>
        <p:sp>
          <p:nvSpPr>
            <p:cNvPr id="4" name="Oval 3"/>
            <p:cNvSpPr>
              <a:spLocks noChangeAspect="1"/>
            </p:cNvSpPr>
            <p:nvPr/>
          </p:nvSpPr>
          <p:spPr bwMode="auto">
            <a:xfrm>
              <a:off x="4190125" y="3176906"/>
              <a:ext cx="2468880" cy="2468880"/>
            </a:xfrm>
            <a:prstGeom prst="ellipse">
              <a:avLst/>
            </a:prstGeom>
            <a:noFill/>
            <a:ln w="254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28">
                <a:lnSpc>
                  <a:spcPct val="90000"/>
                </a:lnSpc>
              </a:pPr>
              <a:endParaRPr lang="en-US" sz="2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4478468" y="3898602"/>
              <a:ext cx="1910395" cy="1209009"/>
              <a:chOff x="7976464" y="3434164"/>
              <a:chExt cx="1910395" cy="1209009"/>
            </a:xfrm>
          </p:grpSpPr>
          <p:sp>
            <p:nvSpPr>
              <p:cNvPr id="6" name="Freeform 5"/>
              <p:cNvSpPr>
                <a:spLocks/>
              </p:cNvSpPr>
              <p:nvPr/>
            </p:nvSpPr>
            <p:spPr bwMode="auto">
              <a:xfrm>
                <a:off x="8077160" y="3546206"/>
                <a:ext cx="1694820" cy="943142"/>
              </a:xfrm>
              <a:custGeom>
                <a:avLst/>
                <a:gdLst>
                  <a:gd name="T0" fmla="*/ 1025 w 1219"/>
                  <a:gd name="T1" fmla="*/ 176 h 678"/>
                  <a:gd name="T2" fmla="*/ 1011 w 1219"/>
                  <a:gd name="T3" fmla="*/ 168 h 678"/>
                  <a:gd name="T4" fmla="*/ 1006 w 1219"/>
                  <a:gd name="T5" fmla="*/ 166 h 678"/>
                  <a:gd name="T6" fmla="*/ 992 w 1219"/>
                  <a:gd name="T7" fmla="*/ 159 h 678"/>
                  <a:gd name="T8" fmla="*/ 0 w 1219"/>
                  <a:gd name="T9" fmla="*/ 323 h 678"/>
                  <a:gd name="T10" fmla="*/ 356 w 1219"/>
                  <a:gd name="T11" fmla="*/ 678 h 678"/>
                  <a:gd name="T12" fmla="*/ 681 w 1219"/>
                  <a:gd name="T13" fmla="*/ 579 h 678"/>
                  <a:gd name="T14" fmla="*/ 735 w 1219"/>
                  <a:gd name="T15" fmla="*/ 595 h 678"/>
                  <a:gd name="T16" fmla="*/ 757 w 1219"/>
                  <a:gd name="T17" fmla="*/ 605 h 678"/>
                  <a:gd name="T18" fmla="*/ 863 w 1219"/>
                  <a:gd name="T19" fmla="*/ 678 h 678"/>
                  <a:gd name="T20" fmla="*/ 1219 w 1219"/>
                  <a:gd name="T21" fmla="*/ 323 h 678"/>
                  <a:gd name="T22" fmla="*/ 1025 w 1219"/>
                  <a:gd name="T23" fmla="*/ 176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19" h="678">
                    <a:moveTo>
                      <a:pt x="1025" y="176"/>
                    </a:moveTo>
                    <a:cubicBezTo>
                      <a:pt x="1020" y="173"/>
                      <a:pt x="1015" y="171"/>
                      <a:pt x="1011" y="168"/>
                    </a:cubicBezTo>
                    <a:cubicBezTo>
                      <a:pt x="1008" y="168"/>
                      <a:pt x="1006" y="166"/>
                      <a:pt x="1006" y="166"/>
                    </a:cubicBezTo>
                    <a:cubicBezTo>
                      <a:pt x="1001" y="164"/>
                      <a:pt x="996" y="161"/>
                      <a:pt x="992" y="159"/>
                    </a:cubicBezTo>
                    <a:cubicBezTo>
                      <a:pt x="669" y="0"/>
                      <a:pt x="268" y="55"/>
                      <a:pt x="0" y="323"/>
                    </a:cubicBezTo>
                    <a:cubicBezTo>
                      <a:pt x="356" y="678"/>
                      <a:pt x="356" y="678"/>
                      <a:pt x="356" y="678"/>
                    </a:cubicBezTo>
                    <a:cubicBezTo>
                      <a:pt x="443" y="588"/>
                      <a:pt x="567" y="557"/>
                      <a:pt x="681" y="579"/>
                    </a:cubicBezTo>
                    <a:cubicBezTo>
                      <a:pt x="700" y="583"/>
                      <a:pt x="716" y="588"/>
                      <a:pt x="735" y="595"/>
                    </a:cubicBezTo>
                    <a:cubicBezTo>
                      <a:pt x="742" y="598"/>
                      <a:pt x="750" y="600"/>
                      <a:pt x="757" y="605"/>
                    </a:cubicBezTo>
                    <a:cubicBezTo>
                      <a:pt x="795" y="621"/>
                      <a:pt x="833" y="645"/>
                      <a:pt x="863" y="678"/>
                    </a:cubicBezTo>
                    <a:cubicBezTo>
                      <a:pt x="1219" y="323"/>
                      <a:pt x="1219" y="323"/>
                      <a:pt x="1219" y="323"/>
                    </a:cubicBezTo>
                    <a:cubicBezTo>
                      <a:pt x="1160" y="263"/>
                      <a:pt x="1094" y="214"/>
                      <a:pt x="1025" y="176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7976464" y="3788729"/>
                <a:ext cx="120552" cy="130480"/>
              </a:xfrm>
              <a:custGeom>
                <a:avLst/>
                <a:gdLst>
                  <a:gd name="T0" fmla="*/ 0 w 85"/>
                  <a:gd name="T1" fmla="*/ 9 h 92"/>
                  <a:gd name="T2" fmla="*/ 75 w 85"/>
                  <a:gd name="T3" fmla="*/ 92 h 92"/>
                  <a:gd name="T4" fmla="*/ 85 w 85"/>
                  <a:gd name="T5" fmla="*/ 82 h 92"/>
                  <a:gd name="T6" fmla="*/ 11 w 85"/>
                  <a:gd name="T7" fmla="*/ 0 h 92"/>
                  <a:gd name="T8" fmla="*/ 0 w 85"/>
                  <a:gd name="T9" fmla="*/ 9 h 92"/>
                  <a:gd name="T10" fmla="*/ 0 w 85"/>
                  <a:gd name="T11" fmla="*/ 9 h 92"/>
                  <a:gd name="T12" fmla="*/ 0 w 85"/>
                  <a:gd name="T13" fmla="*/ 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92">
                    <a:moveTo>
                      <a:pt x="0" y="9"/>
                    </a:moveTo>
                    <a:lnTo>
                      <a:pt x="75" y="92"/>
                    </a:lnTo>
                    <a:lnTo>
                      <a:pt x="85" y="82"/>
                    </a:lnTo>
                    <a:lnTo>
                      <a:pt x="11" y="0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8255861" y="3593009"/>
                <a:ext cx="96442" cy="148917"/>
              </a:xfrm>
              <a:custGeom>
                <a:avLst/>
                <a:gdLst>
                  <a:gd name="T0" fmla="*/ 0 w 68"/>
                  <a:gd name="T1" fmla="*/ 6 h 105"/>
                  <a:gd name="T2" fmla="*/ 54 w 68"/>
                  <a:gd name="T3" fmla="*/ 105 h 105"/>
                  <a:gd name="T4" fmla="*/ 68 w 68"/>
                  <a:gd name="T5" fmla="*/ 98 h 105"/>
                  <a:gd name="T6" fmla="*/ 14 w 68"/>
                  <a:gd name="T7" fmla="*/ 0 h 105"/>
                  <a:gd name="T8" fmla="*/ 0 w 68"/>
                  <a:gd name="T9" fmla="*/ 6 h 105"/>
                  <a:gd name="T10" fmla="*/ 0 w 68"/>
                  <a:gd name="T11" fmla="*/ 6 h 105"/>
                  <a:gd name="T12" fmla="*/ 0 w 68"/>
                  <a:gd name="T13" fmla="*/ 6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105">
                    <a:moveTo>
                      <a:pt x="0" y="6"/>
                    </a:moveTo>
                    <a:lnTo>
                      <a:pt x="54" y="105"/>
                    </a:lnTo>
                    <a:lnTo>
                      <a:pt x="68" y="98"/>
                    </a:lnTo>
                    <a:lnTo>
                      <a:pt x="14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8"/>
              <p:cNvSpPr>
                <a:spLocks/>
              </p:cNvSpPr>
              <p:nvPr/>
            </p:nvSpPr>
            <p:spPr bwMode="auto">
              <a:xfrm>
                <a:off x="8579224" y="3473875"/>
                <a:ext cx="58149" cy="158845"/>
              </a:xfrm>
              <a:custGeom>
                <a:avLst/>
                <a:gdLst>
                  <a:gd name="T0" fmla="*/ 0 w 41"/>
                  <a:gd name="T1" fmla="*/ 2 h 112"/>
                  <a:gd name="T2" fmla="*/ 29 w 41"/>
                  <a:gd name="T3" fmla="*/ 112 h 112"/>
                  <a:gd name="T4" fmla="*/ 41 w 41"/>
                  <a:gd name="T5" fmla="*/ 107 h 112"/>
                  <a:gd name="T6" fmla="*/ 15 w 41"/>
                  <a:gd name="T7" fmla="*/ 0 h 112"/>
                  <a:gd name="T8" fmla="*/ 0 w 41"/>
                  <a:gd name="T9" fmla="*/ 2 h 112"/>
                  <a:gd name="T10" fmla="*/ 0 w 41"/>
                  <a:gd name="T11" fmla="*/ 2 h 112"/>
                  <a:gd name="T12" fmla="*/ 0 w 41"/>
                  <a:gd name="T13" fmla="*/ 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112">
                    <a:moveTo>
                      <a:pt x="0" y="2"/>
                    </a:moveTo>
                    <a:lnTo>
                      <a:pt x="29" y="112"/>
                    </a:lnTo>
                    <a:lnTo>
                      <a:pt x="41" y="107"/>
                    </a:lnTo>
                    <a:lnTo>
                      <a:pt x="15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9"/>
              <p:cNvSpPr>
                <a:spLocks/>
              </p:cNvSpPr>
              <p:nvPr/>
            </p:nvSpPr>
            <p:spPr bwMode="auto">
              <a:xfrm>
                <a:off x="8922443" y="3434164"/>
                <a:ext cx="22692" cy="158845"/>
              </a:xfrm>
              <a:custGeom>
                <a:avLst/>
                <a:gdLst>
                  <a:gd name="T0" fmla="*/ 0 w 16"/>
                  <a:gd name="T1" fmla="*/ 112 h 112"/>
                  <a:gd name="T2" fmla="*/ 16 w 16"/>
                  <a:gd name="T3" fmla="*/ 112 h 112"/>
                  <a:gd name="T4" fmla="*/ 16 w 16"/>
                  <a:gd name="T5" fmla="*/ 0 h 112"/>
                  <a:gd name="T6" fmla="*/ 2 w 16"/>
                  <a:gd name="T7" fmla="*/ 0 h 112"/>
                  <a:gd name="T8" fmla="*/ 0 w 16"/>
                  <a:gd name="T9" fmla="*/ 112 h 112"/>
                  <a:gd name="T10" fmla="*/ 0 w 16"/>
                  <a:gd name="T11" fmla="*/ 112 h 112"/>
                  <a:gd name="T12" fmla="*/ 0 w 16"/>
                  <a:gd name="T13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12">
                    <a:moveTo>
                      <a:pt x="0" y="112"/>
                    </a:moveTo>
                    <a:lnTo>
                      <a:pt x="16" y="112"/>
                    </a:lnTo>
                    <a:lnTo>
                      <a:pt x="16" y="0"/>
                    </a:lnTo>
                    <a:lnTo>
                      <a:pt x="2" y="0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0"/>
              <p:cNvSpPr>
                <a:spLocks/>
              </p:cNvSpPr>
              <p:nvPr/>
            </p:nvSpPr>
            <p:spPr bwMode="auto">
              <a:xfrm>
                <a:off x="9227369" y="3476712"/>
                <a:ext cx="59567" cy="158845"/>
              </a:xfrm>
              <a:custGeom>
                <a:avLst/>
                <a:gdLst>
                  <a:gd name="T0" fmla="*/ 0 w 42"/>
                  <a:gd name="T1" fmla="*/ 110 h 112"/>
                  <a:gd name="T2" fmla="*/ 13 w 42"/>
                  <a:gd name="T3" fmla="*/ 112 h 112"/>
                  <a:gd name="T4" fmla="*/ 42 w 42"/>
                  <a:gd name="T5" fmla="*/ 5 h 112"/>
                  <a:gd name="T6" fmla="*/ 28 w 42"/>
                  <a:gd name="T7" fmla="*/ 0 h 112"/>
                  <a:gd name="T8" fmla="*/ 0 w 42"/>
                  <a:gd name="T9" fmla="*/ 110 h 112"/>
                  <a:gd name="T10" fmla="*/ 0 w 42"/>
                  <a:gd name="T11" fmla="*/ 110 h 112"/>
                  <a:gd name="T12" fmla="*/ 0 w 42"/>
                  <a:gd name="T13" fmla="*/ 11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112">
                    <a:moveTo>
                      <a:pt x="0" y="110"/>
                    </a:moveTo>
                    <a:lnTo>
                      <a:pt x="13" y="112"/>
                    </a:lnTo>
                    <a:lnTo>
                      <a:pt x="42" y="5"/>
                    </a:lnTo>
                    <a:lnTo>
                      <a:pt x="28" y="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1"/>
              <p:cNvSpPr>
                <a:spLocks/>
              </p:cNvSpPr>
              <p:nvPr/>
            </p:nvSpPr>
            <p:spPr bwMode="auto">
              <a:xfrm>
                <a:off x="9511020" y="3601519"/>
                <a:ext cx="96442" cy="148917"/>
              </a:xfrm>
              <a:custGeom>
                <a:avLst/>
                <a:gdLst>
                  <a:gd name="T0" fmla="*/ 56 w 68"/>
                  <a:gd name="T1" fmla="*/ 0 h 105"/>
                  <a:gd name="T2" fmla="*/ 0 w 68"/>
                  <a:gd name="T3" fmla="*/ 99 h 105"/>
                  <a:gd name="T4" fmla="*/ 14 w 68"/>
                  <a:gd name="T5" fmla="*/ 105 h 105"/>
                  <a:gd name="T6" fmla="*/ 68 w 68"/>
                  <a:gd name="T7" fmla="*/ 8 h 105"/>
                  <a:gd name="T8" fmla="*/ 56 w 68"/>
                  <a:gd name="T9" fmla="*/ 0 h 105"/>
                  <a:gd name="T10" fmla="*/ 56 w 68"/>
                  <a:gd name="T11" fmla="*/ 0 h 105"/>
                  <a:gd name="T12" fmla="*/ 56 w 68"/>
                  <a:gd name="T13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105">
                    <a:moveTo>
                      <a:pt x="56" y="0"/>
                    </a:moveTo>
                    <a:lnTo>
                      <a:pt x="0" y="99"/>
                    </a:lnTo>
                    <a:lnTo>
                      <a:pt x="14" y="105"/>
                    </a:lnTo>
                    <a:lnTo>
                      <a:pt x="68" y="8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2"/>
              <p:cNvSpPr>
                <a:spLocks/>
              </p:cNvSpPr>
              <p:nvPr/>
            </p:nvSpPr>
            <p:spPr bwMode="auto">
              <a:xfrm>
                <a:off x="8088506" y="3707888"/>
                <a:ext cx="83677" cy="103533"/>
              </a:xfrm>
              <a:custGeom>
                <a:avLst/>
                <a:gdLst>
                  <a:gd name="T0" fmla="*/ 0 w 59"/>
                  <a:gd name="T1" fmla="*/ 11 h 73"/>
                  <a:gd name="T2" fmla="*/ 46 w 59"/>
                  <a:gd name="T3" fmla="*/ 73 h 73"/>
                  <a:gd name="T4" fmla="*/ 59 w 59"/>
                  <a:gd name="T5" fmla="*/ 63 h 73"/>
                  <a:gd name="T6" fmla="*/ 13 w 59"/>
                  <a:gd name="T7" fmla="*/ 0 h 73"/>
                  <a:gd name="T8" fmla="*/ 0 w 59"/>
                  <a:gd name="T9" fmla="*/ 11 h 73"/>
                  <a:gd name="T10" fmla="*/ 0 w 59"/>
                  <a:gd name="T11" fmla="*/ 11 h 73"/>
                  <a:gd name="T12" fmla="*/ 0 w 59"/>
                  <a:gd name="T13" fmla="*/ 11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73">
                    <a:moveTo>
                      <a:pt x="0" y="11"/>
                    </a:moveTo>
                    <a:lnTo>
                      <a:pt x="46" y="73"/>
                    </a:lnTo>
                    <a:lnTo>
                      <a:pt x="59" y="63"/>
                    </a:lnTo>
                    <a:lnTo>
                      <a:pt x="13" y="0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13"/>
              <p:cNvSpPr>
                <a:spLocks/>
              </p:cNvSpPr>
              <p:nvPr/>
            </p:nvSpPr>
            <p:spPr bwMode="auto">
              <a:xfrm>
                <a:off x="8034613" y="3750436"/>
                <a:ext cx="90769" cy="99278"/>
              </a:xfrm>
              <a:custGeom>
                <a:avLst/>
                <a:gdLst>
                  <a:gd name="T0" fmla="*/ 0 w 64"/>
                  <a:gd name="T1" fmla="*/ 10 h 70"/>
                  <a:gd name="T2" fmla="*/ 50 w 64"/>
                  <a:gd name="T3" fmla="*/ 70 h 70"/>
                  <a:gd name="T4" fmla="*/ 64 w 64"/>
                  <a:gd name="T5" fmla="*/ 62 h 70"/>
                  <a:gd name="T6" fmla="*/ 12 w 64"/>
                  <a:gd name="T7" fmla="*/ 0 h 70"/>
                  <a:gd name="T8" fmla="*/ 0 w 64"/>
                  <a:gd name="T9" fmla="*/ 10 h 70"/>
                  <a:gd name="T10" fmla="*/ 0 w 64"/>
                  <a:gd name="T11" fmla="*/ 10 h 70"/>
                  <a:gd name="T12" fmla="*/ 0 w 64"/>
                  <a:gd name="T13" fmla="*/ 1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70">
                    <a:moveTo>
                      <a:pt x="0" y="10"/>
                    </a:moveTo>
                    <a:lnTo>
                      <a:pt x="50" y="70"/>
                    </a:lnTo>
                    <a:lnTo>
                      <a:pt x="64" y="62"/>
                    </a:lnTo>
                    <a:lnTo>
                      <a:pt x="12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4"/>
              <p:cNvSpPr>
                <a:spLocks/>
              </p:cNvSpPr>
              <p:nvPr/>
            </p:nvSpPr>
            <p:spPr bwMode="auto">
              <a:xfrm>
                <a:off x="8143819" y="3672431"/>
                <a:ext cx="80841" cy="100696"/>
              </a:xfrm>
              <a:custGeom>
                <a:avLst/>
                <a:gdLst>
                  <a:gd name="T0" fmla="*/ 0 w 57"/>
                  <a:gd name="T1" fmla="*/ 8 h 71"/>
                  <a:gd name="T2" fmla="*/ 44 w 57"/>
                  <a:gd name="T3" fmla="*/ 71 h 71"/>
                  <a:gd name="T4" fmla="*/ 57 w 57"/>
                  <a:gd name="T5" fmla="*/ 62 h 71"/>
                  <a:gd name="T6" fmla="*/ 14 w 57"/>
                  <a:gd name="T7" fmla="*/ 0 h 71"/>
                  <a:gd name="T8" fmla="*/ 0 w 57"/>
                  <a:gd name="T9" fmla="*/ 8 h 71"/>
                  <a:gd name="T10" fmla="*/ 0 w 57"/>
                  <a:gd name="T11" fmla="*/ 8 h 71"/>
                  <a:gd name="T12" fmla="*/ 0 w 57"/>
                  <a:gd name="T13" fmla="*/ 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71">
                    <a:moveTo>
                      <a:pt x="0" y="8"/>
                    </a:moveTo>
                    <a:lnTo>
                      <a:pt x="44" y="71"/>
                    </a:lnTo>
                    <a:lnTo>
                      <a:pt x="57" y="62"/>
                    </a:lnTo>
                    <a:lnTo>
                      <a:pt x="1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5"/>
              <p:cNvSpPr>
                <a:spLocks/>
              </p:cNvSpPr>
              <p:nvPr/>
            </p:nvSpPr>
            <p:spPr bwMode="auto">
              <a:xfrm>
                <a:off x="8204804" y="3635557"/>
                <a:ext cx="75168" cy="106369"/>
              </a:xfrm>
              <a:custGeom>
                <a:avLst/>
                <a:gdLst>
                  <a:gd name="T0" fmla="*/ 0 w 53"/>
                  <a:gd name="T1" fmla="*/ 10 h 75"/>
                  <a:gd name="T2" fmla="*/ 37 w 53"/>
                  <a:gd name="T3" fmla="*/ 75 h 75"/>
                  <a:gd name="T4" fmla="*/ 53 w 53"/>
                  <a:gd name="T5" fmla="*/ 68 h 75"/>
                  <a:gd name="T6" fmla="*/ 12 w 53"/>
                  <a:gd name="T7" fmla="*/ 0 h 75"/>
                  <a:gd name="T8" fmla="*/ 0 w 53"/>
                  <a:gd name="T9" fmla="*/ 10 h 75"/>
                  <a:gd name="T10" fmla="*/ 0 w 53"/>
                  <a:gd name="T11" fmla="*/ 10 h 75"/>
                  <a:gd name="T12" fmla="*/ 0 w 53"/>
                  <a:gd name="T13" fmla="*/ 1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0" y="10"/>
                    </a:moveTo>
                    <a:lnTo>
                      <a:pt x="37" y="75"/>
                    </a:lnTo>
                    <a:lnTo>
                      <a:pt x="53" y="68"/>
                    </a:lnTo>
                    <a:lnTo>
                      <a:pt x="12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8321101" y="3574572"/>
                <a:ext cx="68076" cy="109206"/>
              </a:xfrm>
              <a:custGeom>
                <a:avLst/>
                <a:gdLst>
                  <a:gd name="T0" fmla="*/ 0 w 48"/>
                  <a:gd name="T1" fmla="*/ 6 h 77"/>
                  <a:gd name="T2" fmla="*/ 35 w 48"/>
                  <a:gd name="T3" fmla="*/ 77 h 77"/>
                  <a:gd name="T4" fmla="*/ 48 w 48"/>
                  <a:gd name="T5" fmla="*/ 70 h 77"/>
                  <a:gd name="T6" fmla="*/ 17 w 48"/>
                  <a:gd name="T7" fmla="*/ 0 h 77"/>
                  <a:gd name="T8" fmla="*/ 0 w 48"/>
                  <a:gd name="T9" fmla="*/ 6 h 77"/>
                  <a:gd name="T10" fmla="*/ 0 w 48"/>
                  <a:gd name="T11" fmla="*/ 6 h 77"/>
                  <a:gd name="T12" fmla="*/ 0 w 48"/>
                  <a:gd name="T13" fmla="*/ 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77">
                    <a:moveTo>
                      <a:pt x="0" y="6"/>
                    </a:moveTo>
                    <a:lnTo>
                      <a:pt x="35" y="77"/>
                    </a:lnTo>
                    <a:lnTo>
                      <a:pt x="48" y="70"/>
                    </a:lnTo>
                    <a:lnTo>
                      <a:pt x="17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8384923" y="3546206"/>
                <a:ext cx="65240" cy="109206"/>
              </a:xfrm>
              <a:custGeom>
                <a:avLst/>
                <a:gdLst>
                  <a:gd name="T0" fmla="*/ 0 w 46"/>
                  <a:gd name="T1" fmla="*/ 4 h 77"/>
                  <a:gd name="T2" fmla="*/ 29 w 46"/>
                  <a:gd name="T3" fmla="*/ 77 h 77"/>
                  <a:gd name="T4" fmla="*/ 46 w 46"/>
                  <a:gd name="T5" fmla="*/ 72 h 77"/>
                  <a:gd name="T6" fmla="*/ 15 w 46"/>
                  <a:gd name="T7" fmla="*/ 0 h 77"/>
                  <a:gd name="T8" fmla="*/ 0 w 46"/>
                  <a:gd name="T9" fmla="*/ 4 h 77"/>
                  <a:gd name="T10" fmla="*/ 0 w 46"/>
                  <a:gd name="T11" fmla="*/ 4 h 77"/>
                  <a:gd name="T12" fmla="*/ 0 w 46"/>
                  <a:gd name="T13" fmla="*/ 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77">
                    <a:moveTo>
                      <a:pt x="0" y="4"/>
                    </a:moveTo>
                    <a:lnTo>
                      <a:pt x="29" y="77"/>
                    </a:lnTo>
                    <a:lnTo>
                      <a:pt x="46" y="72"/>
                    </a:lnTo>
                    <a:lnTo>
                      <a:pt x="15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8450163" y="3520678"/>
                <a:ext cx="58149" cy="112042"/>
              </a:xfrm>
              <a:custGeom>
                <a:avLst/>
                <a:gdLst>
                  <a:gd name="T0" fmla="*/ 0 w 41"/>
                  <a:gd name="T1" fmla="*/ 8 h 79"/>
                  <a:gd name="T2" fmla="*/ 25 w 41"/>
                  <a:gd name="T3" fmla="*/ 79 h 79"/>
                  <a:gd name="T4" fmla="*/ 41 w 41"/>
                  <a:gd name="T5" fmla="*/ 74 h 79"/>
                  <a:gd name="T6" fmla="*/ 14 w 41"/>
                  <a:gd name="T7" fmla="*/ 0 h 79"/>
                  <a:gd name="T8" fmla="*/ 0 w 41"/>
                  <a:gd name="T9" fmla="*/ 8 h 79"/>
                  <a:gd name="T10" fmla="*/ 0 w 41"/>
                  <a:gd name="T11" fmla="*/ 8 h 79"/>
                  <a:gd name="T12" fmla="*/ 0 w 41"/>
                  <a:gd name="T13" fmla="*/ 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79">
                    <a:moveTo>
                      <a:pt x="0" y="8"/>
                    </a:moveTo>
                    <a:lnTo>
                      <a:pt x="25" y="79"/>
                    </a:lnTo>
                    <a:lnTo>
                      <a:pt x="41" y="74"/>
                    </a:lnTo>
                    <a:lnTo>
                      <a:pt x="1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auto">
              <a:xfrm>
                <a:off x="8518239" y="3499404"/>
                <a:ext cx="49639" cy="113461"/>
              </a:xfrm>
              <a:custGeom>
                <a:avLst/>
                <a:gdLst>
                  <a:gd name="T0" fmla="*/ 0 w 35"/>
                  <a:gd name="T1" fmla="*/ 5 h 80"/>
                  <a:gd name="T2" fmla="*/ 19 w 35"/>
                  <a:gd name="T3" fmla="*/ 80 h 80"/>
                  <a:gd name="T4" fmla="*/ 35 w 35"/>
                  <a:gd name="T5" fmla="*/ 75 h 80"/>
                  <a:gd name="T6" fmla="*/ 13 w 35"/>
                  <a:gd name="T7" fmla="*/ 0 h 80"/>
                  <a:gd name="T8" fmla="*/ 0 w 35"/>
                  <a:gd name="T9" fmla="*/ 5 h 80"/>
                  <a:gd name="T10" fmla="*/ 0 w 35"/>
                  <a:gd name="T11" fmla="*/ 5 h 80"/>
                  <a:gd name="T12" fmla="*/ 0 w 35"/>
                  <a:gd name="T13" fmla="*/ 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80">
                    <a:moveTo>
                      <a:pt x="0" y="5"/>
                    </a:moveTo>
                    <a:lnTo>
                      <a:pt x="19" y="80"/>
                    </a:lnTo>
                    <a:lnTo>
                      <a:pt x="35" y="75"/>
                    </a:lnTo>
                    <a:lnTo>
                      <a:pt x="13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0"/>
              <p:cNvSpPr>
                <a:spLocks/>
              </p:cNvSpPr>
              <p:nvPr/>
            </p:nvSpPr>
            <p:spPr bwMode="auto">
              <a:xfrm>
                <a:off x="8648719" y="3469620"/>
                <a:ext cx="45384" cy="113461"/>
              </a:xfrm>
              <a:custGeom>
                <a:avLst/>
                <a:gdLst>
                  <a:gd name="T0" fmla="*/ 0 w 32"/>
                  <a:gd name="T1" fmla="*/ 3 h 80"/>
                  <a:gd name="T2" fmla="*/ 16 w 32"/>
                  <a:gd name="T3" fmla="*/ 80 h 80"/>
                  <a:gd name="T4" fmla="*/ 32 w 32"/>
                  <a:gd name="T5" fmla="*/ 75 h 80"/>
                  <a:gd name="T6" fmla="*/ 16 w 32"/>
                  <a:gd name="T7" fmla="*/ 0 h 80"/>
                  <a:gd name="T8" fmla="*/ 0 w 32"/>
                  <a:gd name="T9" fmla="*/ 3 h 80"/>
                  <a:gd name="T10" fmla="*/ 0 w 32"/>
                  <a:gd name="T11" fmla="*/ 3 h 80"/>
                  <a:gd name="T12" fmla="*/ 0 w 32"/>
                  <a:gd name="T13" fmla="*/ 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80">
                    <a:moveTo>
                      <a:pt x="0" y="3"/>
                    </a:moveTo>
                    <a:lnTo>
                      <a:pt x="16" y="80"/>
                    </a:lnTo>
                    <a:lnTo>
                      <a:pt x="32" y="75"/>
                    </a:lnTo>
                    <a:lnTo>
                      <a:pt x="16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1"/>
              <p:cNvSpPr>
                <a:spLocks/>
              </p:cNvSpPr>
              <p:nvPr/>
            </p:nvSpPr>
            <p:spPr bwMode="auto">
              <a:xfrm>
                <a:off x="8716795" y="3459693"/>
                <a:ext cx="41130" cy="109206"/>
              </a:xfrm>
              <a:custGeom>
                <a:avLst/>
                <a:gdLst>
                  <a:gd name="T0" fmla="*/ 0 w 29"/>
                  <a:gd name="T1" fmla="*/ 1 h 77"/>
                  <a:gd name="T2" fmla="*/ 10 w 29"/>
                  <a:gd name="T3" fmla="*/ 77 h 77"/>
                  <a:gd name="T4" fmla="*/ 29 w 29"/>
                  <a:gd name="T5" fmla="*/ 76 h 77"/>
                  <a:gd name="T6" fmla="*/ 17 w 29"/>
                  <a:gd name="T7" fmla="*/ 0 h 77"/>
                  <a:gd name="T8" fmla="*/ 0 w 29"/>
                  <a:gd name="T9" fmla="*/ 1 h 77"/>
                  <a:gd name="T10" fmla="*/ 0 w 29"/>
                  <a:gd name="T11" fmla="*/ 1 h 77"/>
                  <a:gd name="T12" fmla="*/ 0 w 29"/>
                  <a:gd name="T13" fmla="*/ 1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77">
                    <a:moveTo>
                      <a:pt x="0" y="1"/>
                    </a:moveTo>
                    <a:lnTo>
                      <a:pt x="10" y="77"/>
                    </a:lnTo>
                    <a:lnTo>
                      <a:pt x="29" y="76"/>
                    </a:lnTo>
                    <a:lnTo>
                      <a:pt x="17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8782035" y="3452601"/>
                <a:ext cx="36875" cy="112042"/>
              </a:xfrm>
              <a:custGeom>
                <a:avLst/>
                <a:gdLst>
                  <a:gd name="T0" fmla="*/ 0 w 26"/>
                  <a:gd name="T1" fmla="*/ 2 h 79"/>
                  <a:gd name="T2" fmla="*/ 11 w 26"/>
                  <a:gd name="T3" fmla="*/ 79 h 79"/>
                  <a:gd name="T4" fmla="*/ 26 w 26"/>
                  <a:gd name="T5" fmla="*/ 76 h 79"/>
                  <a:gd name="T6" fmla="*/ 19 w 26"/>
                  <a:gd name="T7" fmla="*/ 0 h 79"/>
                  <a:gd name="T8" fmla="*/ 0 w 26"/>
                  <a:gd name="T9" fmla="*/ 2 h 79"/>
                  <a:gd name="T10" fmla="*/ 0 w 26"/>
                  <a:gd name="T11" fmla="*/ 2 h 79"/>
                  <a:gd name="T12" fmla="*/ 0 w 26"/>
                  <a:gd name="T13" fmla="*/ 2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79">
                    <a:moveTo>
                      <a:pt x="0" y="2"/>
                    </a:moveTo>
                    <a:lnTo>
                      <a:pt x="11" y="79"/>
                    </a:lnTo>
                    <a:lnTo>
                      <a:pt x="26" y="76"/>
                    </a:lnTo>
                    <a:lnTo>
                      <a:pt x="19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8850112" y="3449765"/>
                <a:ext cx="32620" cy="107788"/>
              </a:xfrm>
              <a:custGeom>
                <a:avLst/>
                <a:gdLst>
                  <a:gd name="T0" fmla="*/ 0 w 23"/>
                  <a:gd name="T1" fmla="*/ 0 h 76"/>
                  <a:gd name="T2" fmla="*/ 5 w 23"/>
                  <a:gd name="T3" fmla="*/ 76 h 76"/>
                  <a:gd name="T4" fmla="*/ 23 w 23"/>
                  <a:gd name="T5" fmla="*/ 75 h 76"/>
                  <a:gd name="T6" fmla="*/ 17 w 23"/>
                  <a:gd name="T7" fmla="*/ 0 h 76"/>
                  <a:gd name="T8" fmla="*/ 0 w 23"/>
                  <a:gd name="T9" fmla="*/ 0 h 76"/>
                  <a:gd name="T10" fmla="*/ 0 w 23"/>
                  <a:gd name="T11" fmla="*/ 0 h 76"/>
                  <a:gd name="T12" fmla="*/ 0 w 23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76">
                    <a:moveTo>
                      <a:pt x="0" y="0"/>
                    </a:moveTo>
                    <a:lnTo>
                      <a:pt x="5" y="76"/>
                    </a:lnTo>
                    <a:lnTo>
                      <a:pt x="23" y="75"/>
                    </a:lnTo>
                    <a:lnTo>
                      <a:pt x="17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8983428" y="3449765"/>
                <a:ext cx="29783" cy="107788"/>
              </a:xfrm>
              <a:custGeom>
                <a:avLst/>
                <a:gdLst>
                  <a:gd name="T0" fmla="*/ 0 w 21"/>
                  <a:gd name="T1" fmla="*/ 76 h 76"/>
                  <a:gd name="T2" fmla="*/ 16 w 21"/>
                  <a:gd name="T3" fmla="*/ 76 h 76"/>
                  <a:gd name="T4" fmla="*/ 21 w 21"/>
                  <a:gd name="T5" fmla="*/ 2 h 76"/>
                  <a:gd name="T6" fmla="*/ 5 w 21"/>
                  <a:gd name="T7" fmla="*/ 0 h 76"/>
                  <a:gd name="T8" fmla="*/ 0 w 21"/>
                  <a:gd name="T9" fmla="*/ 76 h 76"/>
                  <a:gd name="T10" fmla="*/ 0 w 21"/>
                  <a:gd name="T11" fmla="*/ 76 h 76"/>
                  <a:gd name="T12" fmla="*/ 0 w 21"/>
                  <a:gd name="T13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76">
                    <a:moveTo>
                      <a:pt x="0" y="76"/>
                    </a:moveTo>
                    <a:lnTo>
                      <a:pt x="16" y="76"/>
                    </a:lnTo>
                    <a:lnTo>
                      <a:pt x="21" y="2"/>
                    </a:lnTo>
                    <a:lnTo>
                      <a:pt x="5" y="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9045831" y="3454020"/>
                <a:ext cx="36875" cy="113461"/>
              </a:xfrm>
              <a:custGeom>
                <a:avLst/>
                <a:gdLst>
                  <a:gd name="T0" fmla="*/ 0 w 26"/>
                  <a:gd name="T1" fmla="*/ 78 h 80"/>
                  <a:gd name="T2" fmla="*/ 18 w 26"/>
                  <a:gd name="T3" fmla="*/ 80 h 80"/>
                  <a:gd name="T4" fmla="*/ 26 w 26"/>
                  <a:gd name="T5" fmla="*/ 0 h 80"/>
                  <a:gd name="T6" fmla="*/ 11 w 26"/>
                  <a:gd name="T7" fmla="*/ 0 h 80"/>
                  <a:gd name="T8" fmla="*/ 0 w 26"/>
                  <a:gd name="T9" fmla="*/ 78 h 80"/>
                  <a:gd name="T10" fmla="*/ 0 w 26"/>
                  <a:gd name="T11" fmla="*/ 78 h 80"/>
                  <a:gd name="T12" fmla="*/ 0 w 26"/>
                  <a:gd name="T13" fmla="*/ 78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80">
                    <a:moveTo>
                      <a:pt x="0" y="78"/>
                    </a:moveTo>
                    <a:lnTo>
                      <a:pt x="18" y="80"/>
                    </a:lnTo>
                    <a:lnTo>
                      <a:pt x="26" y="0"/>
                    </a:lnTo>
                    <a:lnTo>
                      <a:pt x="11" y="0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9109653" y="3461111"/>
                <a:ext cx="43966" cy="113461"/>
              </a:xfrm>
              <a:custGeom>
                <a:avLst/>
                <a:gdLst>
                  <a:gd name="T0" fmla="*/ 0 w 31"/>
                  <a:gd name="T1" fmla="*/ 76 h 80"/>
                  <a:gd name="T2" fmla="*/ 15 w 31"/>
                  <a:gd name="T3" fmla="*/ 80 h 80"/>
                  <a:gd name="T4" fmla="*/ 31 w 31"/>
                  <a:gd name="T5" fmla="*/ 4 h 80"/>
                  <a:gd name="T6" fmla="*/ 14 w 31"/>
                  <a:gd name="T7" fmla="*/ 0 h 80"/>
                  <a:gd name="T8" fmla="*/ 0 w 31"/>
                  <a:gd name="T9" fmla="*/ 76 h 80"/>
                  <a:gd name="T10" fmla="*/ 0 w 31"/>
                  <a:gd name="T11" fmla="*/ 76 h 80"/>
                  <a:gd name="T12" fmla="*/ 0 w 31"/>
                  <a:gd name="T13" fmla="*/ 7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80">
                    <a:moveTo>
                      <a:pt x="0" y="76"/>
                    </a:moveTo>
                    <a:lnTo>
                      <a:pt x="15" y="80"/>
                    </a:lnTo>
                    <a:lnTo>
                      <a:pt x="31" y="4"/>
                    </a:lnTo>
                    <a:lnTo>
                      <a:pt x="14" y="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9170638" y="3473875"/>
                <a:ext cx="48221" cy="112042"/>
              </a:xfrm>
              <a:custGeom>
                <a:avLst/>
                <a:gdLst>
                  <a:gd name="T0" fmla="*/ 0 w 34"/>
                  <a:gd name="T1" fmla="*/ 75 h 79"/>
                  <a:gd name="T2" fmla="*/ 17 w 34"/>
                  <a:gd name="T3" fmla="*/ 79 h 79"/>
                  <a:gd name="T4" fmla="*/ 34 w 34"/>
                  <a:gd name="T5" fmla="*/ 2 h 79"/>
                  <a:gd name="T6" fmla="*/ 17 w 34"/>
                  <a:gd name="T7" fmla="*/ 0 h 79"/>
                  <a:gd name="T8" fmla="*/ 0 w 34"/>
                  <a:gd name="T9" fmla="*/ 75 h 79"/>
                  <a:gd name="T10" fmla="*/ 0 w 34"/>
                  <a:gd name="T11" fmla="*/ 75 h 79"/>
                  <a:gd name="T12" fmla="*/ 0 w 34"/>
                  <a:gd name="T13" fmla="*/ 75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79">
                    <a:moveTo>
                      <a:pt x="0" y="75"/>
                    </a:moveTo>
                    <a:lnTo>
                      <a:pt x="17" y="79"/>
                    </a:lnTo>
                    <a:lnTo>
                      <a:pt x="34" y="2"/>
                    </a:lnTo>
                    <a:lnTo>
                      <a:pt x="17" y="0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8"/>
              <p:cNvSpPr>
                <a:spLocks/>
              </p:cNvSpPr>
              <p:nvPr/>
            </p:nvSpPr>
            <p:spPr bwMode="auto">
              <a:xfrm>
                <a:off x="9295445" y="3509332"/>
                <a:ext cx="56730" cy="109206"/>
              </a:xfrm>
              <a:custGeom>
                <a:avLst/>
                <a:gdLst>
                  <a:gd name="T0" fmla="*/ 0 w 40"/>
                  <a:gd name="T1" fmla="*/ 74 h 77"/>
                  <a:gd name="T2" fmla="*/ 14 w 40"/>
                  <a:gd name="T3" fmla="*/ 77 h 77"/>
                  <a:gd name="T4" fmla="*/ 40 w 40"/>
                  <a:gd name="T5" fmla="*/ 5 h 77"/>
                  <a:gd name="T6" fmla="*/ 23 w 40"/>
                  <a:gd name="T7" fmla="*/ 0 h 77"/>
                  <a:gd name="T8" fmla="*/ 0 w 40"/>
                  <a:gd name="T9" fmla="*/ 74 h 77"/>
                  <a:gd name="T10" fmla="*/ 0 w 40"/>
                  <a:gd name="T11" fmla="*/ 74 h 77"/>
                  <a:gd name="T12" fmla="*/ 0 w 40"/>
                  <a:gd name="T13" fmla="*/ 7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77">
                    <a:moveTo>
                      <a:pt x="0" y="74"/>
                    </a:moveTo>
                    <a:lnTo>
                      <a:pt x="14" y="77"/>
                    </a:lnTo>
                    <a:lnTo>
                      <a:pt x="40" y="5"/>
                    </a:lnTo>
                    <a:lnTo>
                      <a:pt x="23" y="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9"/>
              <p:cNvSpPr>
                <a:spLocks/>
              </p:cNvSpPr>
              <p:nvPr/>
            </p:nvSpPr>
            <p:spPr bwMode="auto">
              <a:xfrm>
                <a:off x="9356430" y="3527769"/>
                <a:ext cx="58149" cy="112042"/>
              </a:xfrm>
              <a:custGeom>
                <a:avLst/>
                <a:gdLst>
                  <a:gd name="T0" fmla="*/ 26 w 41"/>
                  <a:gd name="T1" fmla="*/ 0 h 79"/>
                  <a:gd name="T2" fmla="*/ 0 w 41"/>
                  <a:gd name="T3" fmla="*/ 74 h 79"/>
                  <a:gd name="T4" fmla="*/ 14 w 41"/>
                  <a:gd name="T5" fmla="*/ 79 h 79"/>
                  <a:gd name="T6" fmla="*/ 41 w 41"/>
                  <a:gd name="T7" fmla="*/ 6 h 79"/>
                  <a:gd name="T8" fmla="*/ 26 w 41"/>
                  <a:gd name="T9" fmla="*/ 0 h 79"/>
                  <a:gd name="T10" fmla="*/ 26 w 41"/>
                  <a:gd name="T11" fmla="*/ 0 h 79"/>
                  <a:gd name="T12" fmla="*/ 26 w 41"/>
                  <a:gd name="T13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79">
                    <a:moveTo>
                      <a:pt x="26" y="0"/>
                    </a:moveTo>
                    <a:lnTo>
                      <a:pt x="0" y="74"/>
                    </a:lnTo>
                    <a:lnTo>
                      <a:pt x="14" y="79"/>
                    </a:lnTo>
                    <a:lnTo>
                      <a:pt x="41" y="6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0"/>
              <p:cNvSpPr>
                <a:spLocks/>
              </p:cNvSpPr>
              <p:nvPr/>
            </p:nvSpPr>
            <p:spPr bwMode="auto">
              <a:xfrm>
                <a:off x="9414579" y="3550461"/>
                <a:ext cx="68076" cy="112042"/>
              </a:xfrm>
              <a:custGeom>
                <a:avLst/>
                <a:gdLst>
                  <a:gd name="T0" fmla="*/ 31 w 48"/>
                  <a:gd name="T1" fmla="*/ 0 h 79"/>
                  <a:gd name="T2" fmla="*/ 0 w 48"/>
                  <a:gd name="T3" fmla="*/ 74 h 79"/>
                  <a:gd name="T4" fmla="*/ 14 w 48"/>
                  <a:gd name="T5" fmla="*/ 79 h 79"/>
                  <a:gd name="T6" fmla="*/ 48 w 48"/>
                  <a:gd name="T7" fmla="*/ 9 h 79"/>
                  <a:gd name="T8" fmla="*/ 31 w 48"/>
                  <a:gd name="T9" fmla="*/ 0 h 79"/>
                  <a:gd name="T10" fmla="*/ 31 w 48"/>
                  <a:gd name="T11" fmla="*/ 0 h 79"/>
                  <a:gd name="T12" fmla="*/ 31 w 48"/>
                  <a:gd name="T13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79">
                    <a:moveTo>
                      <a:pt x="31" y="0"/>
                    </a:moveTo>
                    <a:lnTo>
                      <a:pt x="0" y="74"/>
                    </a:lnTo>
                    <a:lnTo>
                      <a:pt x="14" y="79"/>
                    </a:lnTo>
                    <a:lnTo>
                      <a:pt x="48" y="9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9471309" y="3581663"/>
                <a:ext cx="72331" cy="107788"/>
              </a:xfrm>
              <a:custGeom>
                <a:avLst/>
                <a:gdLst>
                  <a:gd name="T0" fmla="*/ 35 w 51"/>
                  <a:gd name="T1" fmla="*/ 0 h 76"/>
                  <a:gd name="T2" fmla="*/ 0 w 51"/>
                  <a:gd name="T3" fmla="*/ 70 h 76"/>
                  <a:gd name="T4" fmla="*/ 16 w 51"/>
                  <a:gd name="T5" fmla="*/ 76 h 76"/>
                  <a:gd name="T6" fmla="*/ 51 w 51"/>
                  <a:gd name="T7" fmla="*/ 6 h 76"/>
                  <a:gd name="T8" fmla="*/ 35 w 51"/>
                  <a:gd name="T9" fmla="*/ 0 h 76"/>
                  <a:gd name="T10" fmla="*/ 35 w 51"/>
                  <a:gd name="T11" fmla="*/ 0 h 76"/>
                  <a:gd name="T12" fmla="*/ 35 w 51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" h="76">
                    <a:moveTo>
                      <a:pt x="35" y="0"/>
                    </a:moveTo>
                    <a:lnTo>
                      <a:pt x="0" y="70"/>
                    </a:lnTo>
                    <a:lnTo>
                      <a:pt x="16" y="76"/>
                    </a:lnTo>
                    <a:lnTo>
                      <a:pt x="51" y="6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>
                <a:off x="9581933" y="3646903"/>
                <a:ext cx="80841" cy="103533"/>
              </a:xfrm>
              <a:custGeom>
                <a:avLst/>
                <a:gdLst>
                  <a:gd name="T0" fmla="*/ 43 w 57"/>
                  <a:gd name="T1" fmla="*/ 0 h 73"/>
                  <a:gd name="T2" fmla="*/ 0 w 57"/>
                  <a:gd name="T3" fmla="*/ 65 h 73"/>
                  <a:gd name="T4" fmla="*/ 15 w 57"/>
                  <a:gd name="T5" fmla="*/ 73 h 73"/>
                  <a:gd name="T6" fmla="*/ 57 w 57"/>
                  <a:gd name="T7" fmla="*/ 8 h 73"/>
                  <a:gd name="T8" fmla="*/ 43 w 57"/>
                  <a:gd name="T9" fmla="*/ 0 h 73"/>
                  <a:gd name="T10" fmla="*/ 43 w 57"/>
                  <a:gd name="T11" fmla="*/ 0 h 73"/>
                  <a:gd name="T12" fmla="*/ 43 w 57"/>
                  <a:gd name="T13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73">
                    <a:moveTo>
                      <a:pt x="43" y="0"/>
                    </a:moveTo>
                    <a:lnTo>
                      <a:pt x="0" y="65"/>
                    </a:lnTo>
                    <a:lnTo>
                      <a:pt x="15" y="73"/>
                    </a:lnTo>
                    <a:lnTo>
                      <a:pt x="57" y="8"/>
                    </a:lnTo>
                    <a:lnTo>
                      <a:pt x="43" y="0"/>
                    </a:lnTo>
                    <a:lnTo>
                      <a:pt x="43" y="0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33"/>
              <p:cNvSpPr>
                <a:spLocks/>
              </p:cNvSpPr>
              <p:nvPr/>
            </p:nvSpPr>
            <p:spPr bwMode="auto">
              <a:xfrm>
                <a:off x="9637245" y="3683778"/>
                <a:ext cx="82259" cy="104951"/>
              </a:xfrm>
              <a:custGeom>
                <a:avLst/>
                <a:gdLst>
                  <a:gd name="T0" fmla="*/ 43 w 58"/>
                  <a:gd name="T1" fmla="*/ 0 h 74"/>
                  <a:gd name="T2" fmla="*/ 0 w 58"/>
                  <a:gd name="T3" fmla="*/ 64 h 74"/>
                  <a:gd name="T4" fmla="*/ 12 w 58"/>
                  <a:gd name="T5" fmla="*/ 74 h 74"/>
                  <a:gd name="T6" fmla="*/ 58 w 58"/>
                  <a:gd name="T7" fmla="*/ 9 h 74"/>
                  <a:gd name="T8" fmla="*/ 43 w 58"/>
                  <a:gd name="T9" fmla="*/ 0 h 74"/>
                  <a:gd name="T10" fmla="*/ 43 w 58"/>
                  <a:gd name="T11" fmla="*/ 0 h 74"/>
                  <a:gd name="T12" fmla="*/ 43 w 58"/>
                  <a:gd name="T13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74">
                    <a:moveTo>
                      <a:pt x="43" y="0"/>
                    </a:moveTo>
                    <a:lnTo>
                      <a:pt x="0" y="64"/>
                    </a:lnTo>
                    <a:lnTo>
                      <a:pt x="12" y="74"/>
                    </a:lnTo>
                    <a:lnTo>
                      <a:pt x="58" y="9"/>
                    </a:lnTo>
                    <a:lnTo>
                      <a:pt x="43" y="0"/>
                    </a:lnTo>
                    <a:lnTo>
                      <a:pt x="43" y="0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34"/>
              <p:cNvSpPr>
                <a:spLocks/>
              </p:cNvSpPr>
              <p:nvPr/>
            </p:nvSpPr>
            <p:spPr bwMode="auto">
              <a:xfrm>
                <a:off x="9688303" y="3720652"/>
                <a:ext cx="86514" cy="103533"/>
              </a:xfrm>
              <a:custGeom>
                <a:avLst/>
                <a:gdLst>
                  <a:gd name="T0" fmla="*/ 49 w 61"/>
                  <a:gd name="T1" fmla="*/ 0 h 73"/>
                  <a:gd name="T2" fmla="*/ 0 w 61"/>
                  <a:gd name="T3" fmla="*/ 61 h 73"/>
                  <a:gd name="T4" fmla="*/ 14 w 61"/>
                  <a:gd name="T5" fmla="*/ 73 h 73"/>
                  <a:gd name="T6" fmla="*/ 61 w 61"/>
                  <a:gd name="T7" fmla="*/ 9 h 73"/>
                  <a:gd name="T8" fmla="*/ 49 w 61"/>
                  <a:gd name="T9" fmla="*/ 0 h 73"/>
                  <a:gd name="T10" fmla="*/ 49 w 61"/>
                  <a:gd name="T11" fmla="*/ 0 h 73"/>
                  <a:gd name="T12" fmla="*/ 49 w 61"/>
                  <a:gd name="T13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73">
                    <a:moveTo>
                      <a:pt x="49" y="0"/>
                    </a:moveTo>
                    <a:lnTo>
                      <a:pt x="0" y="61"/>
                    </a:lnTo>
                    <a:lnTo>
                      <a:pt x="14" y="73"/>
                    </a:lnTo>
                    <a:lnTo>
                      <a:pt x="61" y="9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5"/>
              <p:cNvSpPr>
                <a:spLocks/>
              </p:cNvSpPr>
              <p:nvPr/>
            </p:nvSpPr>
            <p:spPr bwMode="auto">
              <a:xfrm>
                <a:off x="9737942" y="3763200"/>
                <a:ext cx="90769" cy="100696"/>
              </a:xfrm>
              <a:custGeom>
                <a:avLst/>
                <a:gdLst>
                  <a:gd name="T0" fmla="*/ 52 w 64"/>
                  <a:gd name="T1" fmla="*/ 0 h 71"/>
                  <a:gd name="T2" fmla="*/ 0 w 64"/>
                  <a:gd name="T3" fmla="*/ 59 h 71"/>
                  <a:gd name="T4" fmla="*/ 14 w 64"/>
                  <a:gd name="T5" fmla="*/ 71 h 71"/>
                  <a:gd name="T6" fmla="*/ 64 w 64"/>
                  <a:gd name="T7" fmla="*/ 10 h 71"/>
                  <a:gd name="T8" fmla="*/ 52 w 64"/>
                  <a:gd name="T9" fmla="*/ 0 h 71"/>
                  <a:gd name="T10" fmla="*/ 52 w 64"/>
                  <a:gd name="T11" fmla="*/ 0 h 71"/>
                  <a:gd name="T12" fmla="*/ 52 w 64"/>
                  <a:gd name="T1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71">
                    <a:moveTo>
                      <a:pt x="52" y="0"/>
                    </a:moveTo>
                    <a:lnTo>
                      <a:pt x="0" y="59"/>
                    </a:lnTo>
                    <a:lnTo>
                      <a:pt x="14" y="71"/>
                    </a:lnTo>
                    <a:lnTo>
                      <a:pt x="64" y="1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6"/>
              <p:cNvSpPr>
                <a:spLocks/>
              </p:cNvSpPr>
              <p:nvPr/>
            </p:nvSpPr>
            <p:spPr bwMode="auto">
              <a:xfrm>
                <a:off x="9763470" y="3800075"/>
                <a:ext cx="123389" cy="129062"/>
              </a:xfrm>
              <a:custGeom>
                <a:avLst/>
                <a:gdLst>
                  <a:gd name="T0" fmla="*/ 75 w 87"/>
                  <a:gd name="T1" fmla="*/ 0 h 91"/>
                  <a:gd name="T2" fmla="*/ 0 w 87"/>
                  <a:gd name="T3" fmla="*/ 81 h 91"/>
                  <a:gd name="T4" fmla="*/ 12 w 87"/>
                  <a:gd name="T5" fmla="*/ 91 h 91"/>
                  <a:gd name="T6" fmla="*/ 87 w 87"/>
                  <a:gd name="T7" fmla="*/ 10 h 91"/>
                  <a:gd name="T8" fmla="*/ 75 w 87"/>
                  <a:gd name="T9" fmla="*/ 0 h 91"/>
                  <a:gd name="T10" fmla="*/ 75 w 87"/>
                  <a:gd name="T11" fmla="*/ 0 h 91"/>
                  <a:gd name="T12" fmla="*/ 75 w 87"/>
                  <a:gd name="T13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91">
                    <a:moveTo>
                      <a:pt x="75" y="0"/>
                    </a:moveTo>
                    <a:lnTo>
                      <a:pt x="0" y="81"/>
                    </a:lnTo>
                    <a:lnTo>
                      <a:pt x="12" y="91"/>
                    </a:lnTo>
                    <a:lnTo>
                      <a:pt x="87" y="10"/>
                    </a:lnTo>
                    <a:lnTo>
                      <a:pt x="75" y="0"/>
                    </a:lnTo>
                    <a:lnTo>
                      <a:pt x="75" y="0"/>
                    </a:ln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8"/>
              <p:cNvSpPr>
                <a:spLocks/>
              </p:cNvSpPr>
              <p:nvPr/>
            </p:nvSpPr>
            <p:spPr bwMode="auto">
              <a:xfrm rot="16987329">
                <a:off x="8278948" y="3808528"/>
                <a:ext cx="696365" cy="972925"/>
              </a:xfrm>
              <a:custGeom>
                <a:avLst/>
                <a:gdLst>
                  <a:gd name="T0" fmla="*/ 501 w 501"/>
                  <a:gd name="T1" fmla="*/ 7 h 699"/>
                  <a:gd name="T2" fmla="*/ 487 w 501"/>
                  <a:gd name="T3" fmla="*/ 0 h 699"/>
                  <a:gd name="T4" fmla="*/ 176 w 501"/>
                  <a:gd name="T5" fmla="*/ 419 h 699"/>
                  <a:gd name="T6" fmla="*/ 100 w 501"/>
                  <a:gd name="T7" fmla="*/ 521 h 699"/>
                  <a:gd name="T8" fmla="*/ 91 w 501"/>
                  <a:gd name="T9" fmla="*/ 521 h 699"/>
                  <a:gd name="T10" fmla="*/ 0 w 501"/>
                  <a:gd name="T11" fmla="*/ 609 h 699"/>
                  <a:gd name="T12" fmla="*/ 91 w 501"/>
                  <a:gd name="T13" fmla="*/ 699 h 699"/>
                  <a:gd name="T14" fmla="*/ 178 w 501"/>
                  <a:gd name="T15" fmla="*/ 609 h 699"/>
                  <a:gd name="T16" fmla="*/ 157 w 501"/>
                  <a:gd name="T17" fmla="*/ 552 h 699"/>
                  <a:gd name="T18" fmla="*/ 231 w 501"/>
                  <a:gd name="T19" fmla="*/ 436 h 699"/>
                  <a:gd name="T20" fmla="*/ 501 w 501"/>
                  <a:gd name="T21" fmla="*/ 7 h 699"/>
                  <a:gd name="T22" fmla="*/ 501 w 501"/>
                  <a:gd name="T23" fmla="*/ 7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01" h="699">
                    <a:moveTo>
                      <a:pt x="501" y="7"/>
                    </a:moveTo>
                    <a:cubicBezTo>
                      <a:pt x="497" y="5"/>
                      <a:pt x="492" y="2"/>
                      <a:pt x="487" y="0"/>
                    </a:cubicBezTo>
                    <a:cubicBezTo>
                      <a:pt x="176" y="419"/>
                      <a:pt x="176" y="419"/>
                      <a:pt x="176" y="419"/>
                    </a:cubicBezTo>
                    <a:cubicBezTo>
                      <a:pt x="100" y="521"/>
                      <a:pt x="100" y="521"/>
                      <a:pt x="100" y="521"/>
                    </a:cubicBezTo>
                    <a:cubicBezTo>
                      <a:pt x="98" y="521"/>
                      <a:pt x="93" y="521"/>
                      <a:pt x="91" y="521"/>
                    </a:cubicBezTo>
                    <a:cubicBezTo>
                      <a:pt x="41" y="521"/>
                      <a:pt x="0" y="562"/>
                      <a:pt x="0" y="609"/>
                    </a:cubicBezTo>
                    <a:cubicBezTo>
                      <a:pt x="0" y="659"/>
                      <a:pt x="41" y="699"/>
                      <a:pt x="91" y="699"/>
                    </a:cubicBezTo>
                    <a:cubicBezTo>
                      <a:pt x="138" y="699"/>
                      <a:pt x="178" y="659"/>
                      <a:pt x="178" y="609"/>
                    </a:cubicBezTo>
                    <a:cubicBezTo>
                      <a:pt x="178" y="588"/>
                      <a:pt x="171" y="566"/>
                      <a:pt x="157" y="552"/>
                    </a:cubicBezTo>
                    <a:cubicBezTo>
                      <a:pt x="231" y="436"/>
                      <a:pt x="231" y="436"/>
                      <a:pt x="231" y="436"/>
                    </a:cubicBezTo>
                    <a:cubicBezTo>
                      <a:pt x="501" y="7"/>
                      <a:pt x="501" y="7"/>
                      <a:pt x="501" y="7"/>
                    </a:cubicBezTo>
                    <a:cubicBezTo>
                      <a:pt x="501" y="7"/>
                      <a:pt x="501" y="7"/>
                      <a:pt x="501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9" name="Group 38"/>
          <p:cNvGrpSpPr/>
          <p:nvPr/>
        </p:nvGrpSpPr>
        <p:grpSpPr>
          <a:xfrm>
            <a:off x="512191" y="1910167"/>
            <a:ext cx="2468880" cy="2468880"/>
            <a:chOff x="3529762" y="1910167"/>
            <a:chExt cx="2468880" cy="2468880"/>
          </a:xfrm>
        </p:grpSpPr>
        <p:sp>
          <p:nvSpPr>
            <p:cNvPr id="40" name="Oval 39"/>
            <p:cNvSpPr>
              <a:spLocks noChangeAspect="1"/>
            </p:cNvSpPr>
            <p:nvPr/>
          </p:nvSpPr>
          <p:spPr bwMode="auto">
            <a:xfrm>
              <a:off x="3529762" y="1910167"/>
              <a:ext cx="2468880" cy="2468880"/>
            </a:xfrm>
            <a:prstGeom prst="ellipse">
              <a:avLst/>
            </a:prstGeom>
            <a:noFill/>
            <a:ln w="254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28">
                <a:lnSpc>
                  <a:spcPct val="90000"/>
                </a:lnSpc>
              </a:pPr>
              <a:endParaRPr lang="en-US" sz="2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4234426" y="2613466"/>
              <a:ext cx="1045029" cy="1143000"/>
              <a:chOff x="4234426" y="2613466"/>
              <a:chExt cx="1045029" cy="1143000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4234426" y="2613466"/>
                <a:ext cx="1045029" cy="1143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rgbClr val="00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4275263" y="2665050"/>
                <a:ext cx="955361" cy="1050607"/>
                <a:chOff x="4275263" y="2665050"/>
                <a:chExt cx="955361" cy="1062760"/>
              </a:xfrm>
            </p:grpSpPr>
            <p:sp>
              <p:nvSpPr>
                <p:cNvPr id="44" name="Freeform 87"/>
                <p:cNvSpPr>
                  <a:spLocks noEditPoints="1"/>
                </p:cNvSpPr>
                <p:nvPr/>
              </p:nvSpPr>
              <p:spPr bwMode="auto">
                <a:xfrm>
                  <a:off x="4523410" y="2880360"/>
                  <a:ext cx="481581" cy="621240"/>
                </a:xfrm>
                <a:custGeom>
                  <a:avLst/>
                  <a:gdLst>
                    <a:gd name="T0" fmla="*/ 52 w 104"/>
                    <a:gd name="T1" fmla="*/ 0 h 135"/>
                    <a:gd name="T2" fmla="*/ 0 w 104"/>
                    <a:gd name="T3" fmla="*/ 20 h 135"/>
                    <a:gd name="T4" fmla="*/ 0 w 104"/>
                    <a:gd name="T5" fmla="*/ 114 h 135"/>
                    <a:gd name="T6" fmla="*/ 44 w 104"/>
                    <a:gd name="T7" fmla="*/ 135 h 135"/>
                    <a:gd name="T8" fmla="*/ 60 w 104"/>
                    <a:gd name="T9" fmla="*/ 135 h 135"/>
                    <a:gd name="T10" fmla="*/ 104 w 104"/>
                    <a:gd name="T11" fmla="*/ 116 h 135"/>
                    <a:gd name="T12" fmla="*/ 104 w 104"/>
                    <a:gd name="T13" fmla="*/ 20 h 135"/>
                    <a:gd name="T14" fmla="*/ 52 w 104"/>
                    <a:gd name="T15" fmla="*/ 0 h 135"/>
                    <a:gd name="T16" fmla="*/ 52 w 104"/>
                    <a:gd name="T17" fmla="*/ 7 h 135"/>
                    <a:gd name="T18" fmla="*/ 89 w 104"/>
                    <a:gd name="T19" fmla="*/ 18 h 135"/>
                    <a:gd name="T20" fmla="*/ 52 w 104"/>
                    <a:gd name="T21" fmla="*/ 29 h 135"/>
                    <a:gd name="T22" fmla="*/ 15 w 104"/>
                    <a:gd name="T23" fmla="*/ 18 h 135"/>
                    <a:gd name="T24" fmla="*/ 52 w 104"/>
                    <a:gd name="T25" fmla="*/ 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4" h="135">
                      <a:moveTo>
                        <a:pt x="52" y="0"/>
                      </a:moveTo>
                      <a:cubicBezTo>
                        <a:pt x="24" y="0"/>
                        <a:pt x="0" y="9"/>
                        <a:pt x="0" y="20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23"/>
                        <a:pt x="19" y="134"/>
                        <a:pt x="44" y="135"/>
                      </a:cubicBezTo>
                      <a:cubicBezTo>
                        <a:pt x="60" y="135"/>
                        <a:pt x="60" y="135"/>
                        <a:pt x="60" y="135"/>
                      </a:cubicBezTo>
                      <a:cubicBezTo>
                        <a:pt x="85" y="134"/>
                        <a:pt x="104" y="125"/>
                        <a:pt x="104" y="116"/>
                      </a:cubicBezTo>
                      <a:cubicBezTo>
                        <a:pt x="104" y="20"/>
                        <a:pt x="104" y="20"/>
                        <a:pt x="104" y="20"/>
                      </a:cubicBezTo>
                      <a:cubicBezTo>
                        <a:pt x="104" y="10"/>
                        <a:pt x="81" y="0"/>
                        <a:pt x="52" y="0"/>
                      </a:cubicBezTo>
                      <a:close/>
                      <a:moveTo>
                        <a:pt x="52" y="7"/>
                      </a:moveTo>
                      <a:cubicBezTo>
                        <a:pt x="72" y="7"/>
                        <a:pt x="89" y="12"/>
                        <a:pt x="89" y="18"/>
                      </a:cubicBezTo>
                      <a:cubicBezTo>
                        <a:pt x="89" y="24"/>
                        <a:pt x="72" y="29"/>
                        <a:pt x="52" y="29"/>
                      </a:cubicBezTo>
                      <a:cubicBezTo>
                        <a:pt x="32" y="29"/>
                        <a:pt x="15" y="24"/>
                        <a:pt x="15" y="18"/>
                      </a:cubicBezTo>
                      <a:cubicBezTo>
                        <a:pt x="15" y="12"/>
                        <a:pt x="32" y="7"/>
                        <a:pt x="52" y="7"/>
                      </a:cubicBezTo>
                      <a:close/>
                    </a:path>
                  </a:pathLst>
                </a:custGeom>
                <a:solidFill>
                  <a:schemeClr val="bg1">
                    <a:lumMod val="20000"/>
                    <a:lumOff val="80000"/>
                  </a:schemeClr>
                </a:solidFill>
                <a:ln w="19050">
                  <a:solidFill>
                    <a:schemeClr val="accent2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" name="Right Arrow 420"/>
                <p:cNvSpPr/>
                <p:nvPr/>
              </p:nvSpPr>
              <p:spPr bwMode="auto">
                <a:xfrm>
                  <a:off x="5047986" y="3062709"/>
                  <a:ext cx="182638" cy="256543"/>
                </a:xfrm>
                <a:prstGeom prst="rightArrow">
                  <a:avLst>
                    <a:gd name="adj1" fmla="val 61315"/>
                    <a:gd name="adj2" fmla="val 35856"/>
                  </a:avLst>
                </a:prstGeom>
                <a:solidFill>
                  <a:schemeClr val="bg1"/>
                </a:solidFill>
                <a:ln w="19050">
                  <a:solidFill>
                    <a:schemeClr val="accent1">
                      <a:lumMod val="50000"/>
                      <a:lumOff val="50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6" name="Right Arrow 421"/>
                <p:cNvSpPr/>
                <p:nvPr/>
              </p:nvSpPr>
              <p:spPr bwMode="auto">
                <a:xfrm rot="5400000">
                  <a:off x="4672881" y="3508219"/>
                  <a:ext cx="182638" cy="256543"/>
                </a:xfrm>
                <a:prstGeom prst="rightArrow">
                  <a:avLst>
                    <a:gd name="adj1" fmla="val 61315"/>
                    <a:gd name="adj2" fmla="val 35856"/>
                  </a:avLst>
                </a:prstGeom>
                <a:solidFill>
                  <a:schemeClr val="bg1"/>
                </a:solidFill>
                <a:ln w="19050">
                  <a:solidFill>
                    <a:schemeClr val="accent1">
                      <a:lumMod val="50000"/>
                      <a:lumOff val="50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7" name="Right Arrow 422"/>
                <p:cNvSpPr/>
                <p:nvPr/>
              </p:nvSpPr>
              <p:spPr bwMode="auto">
                <a:xfrm rot="10800000">
                  <a:off x="4275263" y="3062708"/>
                  <a:ext cx="182638" cy="256543"/>
                </a:xfrm>
                <a:prstGeom prst="rightArrow">
                  <a:avLst>
                    <a:gd name="adj1" fmla="val 61315"/>
                    <a:gd name="adj2" fmla="val 35856"/>
                  </a:avLst>
                </a:prstGeom>
                <a:solidFill>
                  <a:schemeClr val="bg1"/>
                </a:solidFill>
                <a:ln w="19050">
                  <a:solidFill>
                    <a:schemeClr val="accent1">
                      <a:lumMod val="50000"/>
                      <a:lumOff val="50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8" name="Right Arrow 423"/>
                <p:cNvSpPr/>
                <p:nvPr/>
              </p:nvSpPr>
              <p:spPr bwMode="auto">
                <a:xfrm rot="16200000">
                  <a:off x="4672881" y="2628097"/>
                  <a:ext cx="182638" cy="256543"/>
                </a:xfrm>
                <a:prstGeom prst="rightArrow">
                  <a:avLst>
                    <a:gd name="adj1" fmla="val 61315"/>
                    <a:gd name="adj2" fmla="val 35856"/>
                  </a:avLst>
                </a:prstGeom>
                <a:solidFill>
                  <a:schemeClr val="bg1"/>
                </a:solidFill>
                <a:ln w="19050">
                  <a:solidFill>
                    <a:schemeClr val="accent1">
                      <a:lumMod val="50000"/>
                      <a:lumOff val="50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grpSp>
        <p:nvGrpSpPr>
          <p:cNvPr id="49" name="Group 48"/>
          <p:cNvGrpSpPr/>
          <p:nvPr/>
        </p:nvGrpSpPr>
        <p:grpSpPr>
          <a:xfrm>
            <a:off x="9455404" y="1910167"/>
            <a:ext cx="2468880" cy="2468880"/>
            <a:chOff x="9187820" y="1913903"/>
            <a:chExt cx="2468880" cy="2468880"/>
          </a:xfrm>
        </p:grpSpPr>
        <p:grpSp>
          <p:nvGrpSpPr>
            <p:cNvPr id="50" name="Group 49"/>
            <p:cNvGrpSpPr/>
            <p:nvPr/>
          </p:nvGrpSpPr>
          <p:grpSpPr>
            <a:xfrm>
              <a:off x="9187820" y="1913903"/>
              <a:ext cx="2468880" cy="2468880"/>
              <a:chOff x="9193841" y="1891403"/>
              <a:chExt cx="2468880" cy="2468880"/>
            </a:xfrm>
          </p:grpSpPr>
          <p:sp>
            <p:nvSpPr>
              <p:cNvPr id="52" name="Freeform 427"/>
              <p:cNvSpPr>
                <a:spLocks/>
              </p:cNvSpPr>
              <p:nvPr/>
            </p:nvSpPr>
            <p:spPr bwMode="auto">
              <a:xfrm>
                <a:off x="10241450" y="3404985"/>
                <a:ext cx="436236" cy="574251"/>
              </a:xfrm>
              <a:custGeom>
                <a:avLst/>
                <a:gdLst>
                  <a:gd name="connsiteX0" fmla="*/ 97586 w 427721"/>
                  <a:gd name="connsiteY0" fmla="*/ 425633 h 563042"/>
                  <a:gd name="connsiteX1" fmla="*/ 330135 w 427721"/>
                  <a:gd name="connsiteY1" fmla="*/ 425633 h 563042"/>
                  <a:gd name="connsiteX2" fmla="*/ 340202 w 427721"/>
                  <a:gd name="connsiteY2" fmla="*/ 435788 h 563042"/>
                  <a:gd name="connsiteX3" fmla="*/ 330135 w 427721"/>
                  <a:gd name="connsiteY3" fmla="*/ 445943 h 563042"/>
                  <a:gd name="connsiteX4" fmla="*/ 97586 w 427721"/>
                  <a:gd name="connsiteY4" fmla="*/ 445943 h 563042"/>
                  <a:gd name="connsiteX5" fmla="*/ 87519 w 427721"/>
                  <a:gd name="connsiteY5" fmla="*/ 435788 h 563042"/>
                  <a:gd name="connsiteX6" fmla="*/ 97586 w 427721"/>
                  <a:gd name="connsiteY6" fmla="*/ 425633 h 563042"/>
                  <a:gd name="connsiteX7" fmla="*/ 97586 w 427721"/>
                  <a:gd name="connsiteY7" fmla="*/ 377365 h 563042"/>
                  <a:gd name="connsiteX8" fmla="*/ 330135 w 427721"/>
                  <a:gd name="connsiteY8" fmla="*/ 377365 h 563042"/>
                  <a:gd name="connsiteX9" fmla="*/ 340202 w 427721"/>
                  <a:gd name="connsiteY9" fmla="*/ 387388 h 563042"/>
                  <a:gd name="connsiteX10" fmla="*/ 330135 w 427721"/>
                  <a:gd name="connsiteY10" fmla="*/ 397411 h 563042"/>
                  <a:gd name="connsiteX11" fmla="*/ 97586 w 427721"/>
                  <a:gd name="connsiteY11" fmla="*/ 397411 h 563042"/>
                  <a:gd name="connsiteX12" fmla="*/ 87519 w 427721"/>
                  <a:gd name="connsiteY12" fmla="*/ 387388 h 563042"/>
                  <a:gd name="connsiteX13" fmla="*/ 97586 w 427721"/>
                  <a:gd name="connsiteY13" fmla="*/ 377365 h 563042"/>
                  <a:gd name="connsiteX14" fmla="*/ 97586 w 427721"/>
                  <a:gd name="connsiteY14" fmla="*/ 332790 h 563042"/>
                  <a:gd name="connsiteX15" fmla="*/ 330135 w 427721"/>
                  <a:gd name="connsiteY15" fmla="*/ 332790 h 563042"/>
                  <a:gd name="connsiteX16" fmla="*/ 340202 w 427721"/>
                  <a:gd name="connsiteY16" fmla="*/ 342945 h 563042"/>
                  <a:gd name="connsiteX17" fmla="*/ 330135 w 427721"/>
                  <a:gd name="connsiteY17" fmla="*/ 353100 h 563042"/>
                  <a:gd name="connsiteX18" fmla="*/ 97586 w 427721"/>
                  <a:gd name="connsiteY18" fmla="*/ 353100 h 563042"/>
                  <a:gd name="connsiteX19" fmla="*/ 87519 w 427721"/>
                  <a:gd name="connsiteY19" fmla="*/ 342945 h 563042"/>
                  <a:gd name="connsiteX20" fmla="*/ 97586 w 427721"/>
                  <a:gd name="connsiteY20" fmla="*/ 332790 h 563042"/>
                  <a:gd name="connsiteX21" fmla="*/ 97586 w 427721"/>
                  <a:gd name="connsiteY21" fmla="*/ 284258 h 563042"/>
                  <a:gd name="connsiteX22" fmla="*/ 330135 w 427721"/>
                  <a:gd name="connsiteY22" fmla="*/ 284258 h 563042"/>
                  <a:gd name="connsiteX23" fmla="*/ 340202 w 427721"/>
                  <a:gd name="connsiteY23" fmla="*/ 294413 h 563042"/>
                  <a:gd name="connsiteX24" fmla="*/ 330135 w 427721"/>
                  <a:gd name="connsiteY24" fmla="*/ 304568 h 563042"/>
                  <a:gd name="connsiteX25" fmla="*/ 97586 w 427721"/>
                  <a:gd name="connsiteY25" fmla="*/ 304568 h 563042"/>
                  <a:gd name="connsiteX26" fmla="*/ 87519 w 427721"/>
                  <a:gd name="connsiteY26" fmla="*/ 294413 h 563042"/>
                  <a:gd name="connsiteX27" fmla="*/ 97586 w 427721"/>
                  <a:gd name="connsiteY27" fmla="*/ 284258 h 563042"/>
                  <a:gd name="connsiteX28" fmla="*/ 97586 w 427721"/>
                  <a:gd name="connsiteY28" fmla="*/ 239946 h 563042"/>
                  <a:gd name="connsiteX29" fmla="*/ 330135 w 427721"/>
                  <a:gd name="connsiteY29" fmla="*/ 239946 h 563042"/>
                  <a:gd name="connsiteX30" fmla="*/ 340202 w 427721"/>
                  <a:gd name="connsiteY30" fmla="*/ 249969 h 563042"/>
                  <a:gd name="connsiteX31" fmla="*/ 330135 w 427721"/>
                  <a:gd name="connsiteY31" fmla="*/ 259992 h 563042"/>
                  <a:gd name="connsiteX32" fmla="*/ 97586 w 427721"/>
                  <a:gd name="connsiteY32" fmla="*/ 259992 h 563042"/>
                  <a:gd name="connsiteX33" fmla="*/ 87519 w 427721"/>
                  <a:gd name="connsiteY33" fmla="*/ 249969 h 563042"/>
                  <a:gd name="connsiteX34" fmla="*/ 97586 w 427721"/>
                  <a:gd name="connsiteY34" fmla="*/ 239946 h 563042"/>
                  <a:gd name="connsiteX35" fmla="*/ 258923 w 427721"/>
                  <a:gd name="connsiteY35" fmla="*/ 20431 h 563042"/>
                  <a:gd name="connsiteX36" fmla="*/ 257906 w 427721"/>
                  <a:gd name="connsiteY36" fmla="*/ 21447 h 563042"/>
                  <a:gd name="connsiteX37" fmla="*/ 257906 w 427721"/>
                  <a:gd name="connsiteY37" fmla="*/ 168799 h 563042"/>
                  <a:gd name="connsiteX38" fmla="*/ 258923 w 427721"/>
                  <a:gd name="connsiteY38" fmla="*/ 169815 h 563042"/>
                  <a:gd name="connsiteX39" fmla="*/ 406274 w 427721"/>
                  <a:gd name="connsiteY39" fmla="*/ 169815 h 563042"/>
                  <a:gd name="connsiteX40" fmla="*/ 407290 w 427721"/>
                  <a:gd name="connsiteY40" fmla="*/ 168799 h 563042"/>
                  <a:gd name="connsiteX41" fmla="*/ 406782 w 427721"/>
                  <a:gd name="connsiteY41" fmla="*/ 167782 h 563042"/>
                  <a:gd name="connsiteX42" fmla="*/ 406274 w 427721"/>
                  <a:gd name="connsiteY42" fmla="*/ 167274 h 563042"/>
                  <a:gd name="connsiteX43" fmla="*/ 405766 w 427721"/>
                  <a:gd name="connsiteY43" fmla="*/ 166766 h 563042"/>
                  <a:gd name="connsiteX44" fmla="*/ 259939 w 427721"/>
                  <a:gd name="connsiteY44" fmla="*/ 20939 h 563042"/>
                  <a:gd name="connsiteX45" fmla="*/ 258923 w 427721"/>
                  <a:gd name="connsiteY45" fmla="*/ 20431 h 563042"/>
                  <a:gd name="connsiteX46" fmla="*/ 33058 w 427721"/>
                  <a:gd name="connsiteY46" fmla="*/ 20326 h 563042"/>
                  <a:gd name="connsiteX47" fmla="*/ 20343 w 427721"/>
                  <a:gd name="connsiteY47" fmla="*/ 33030 h 563042"/>
                  <a:gd name="connsiteX48" fmla="*/ 20343 w 427721"/>
                  <a:gd name="connsiteY48" fmla="*/ 530012 h 563042"/>
                  <a:gd name="connsiteX49" fmla="*/ 33058 w 427721"/>
                  <a:gd name="connsiteY49" fmla="*/ 542716 h 563042"/>
                  <a:gd name="connsiteX50" fmla="*/ 394663 w 427721"/>
                  <a:gd name="connsiteY50" fmla="*/ 542716 h 563042"/>
                  <a:gd name="connsiteX51" fmla="*/ 407378 w 427721"/>
                  <a:gd name="connsiteY51" fmla="*/ 530012 h 563042"/>
                  <a:gd name="connsiteX52" fmla="*/ 407378 w 427721"/>
                  <a:gd name="connsiteY52" fmla="*/ 198965 h 563042"/>
                  <a:gd name="connsiteX53" fmla="*/ 407378 w 427721"/>
                  <a:gd name="connsiteY53" fmla="*/ 189772 h 563042"/>
                  <a:gd name="connsiteX54" fmla="*/ 406357 w 427721"/>
                  <a:gd name="connsiteY54" fmla="*/ 189980 h 563042"/>
                  <a:gd name="connsiteX55" fmla="*/ 258840 w 427721"/>
                  <a:gd name="connsiteY55" fmla="*/ 189980 h 563042"/>
                  <a:gd name="connsiteX56" fmla="*/ 237476 w 427721"/>
                  <a:gd name="connsiteY56" fmla="*/ 168638 h 563042"/>
                  <a:gd name="connsiteX57" fmla="*/ 237476 w 427721"/>
                  <a:gd name="connsiteY57" fmla="*/ 21275 h 563042"/>
                  <a:gd name="connsiteX58" fmla="*/ 237616 w 427721"/>
                  <a:gd name="connsiteY58" fmla="*/ 20326 h 563042"/>
                  <a:gd name="connsiteX59" fmla="*/ 219122 w 427721"/>
                  <a:gd name="connsiteY59" fmla="*/ 20326 h 563042"/>
                  <a:gd name="connsiteX60" fmla="*/ 33058 w 427721"/>
                  <a:gd name="connsiteY60" fmla="*/ 20326 h 563042"/>
                  <a:gd name="connsiteX61" fmla="*/ 33058 w 427721"/>
                  <a:gd name="connsiteY61" fmla="*/ 0 h 563042"/>
                  <a:gd name="connsiteX62" fmla="*/ 258871 w 427721"/>
                  <a:gd name="connsiteY62" fmla="*/ 0 h 563042"/>
                  <a:gd name="connsiteX63" fmla="*/ 258871 w 427721"/>
                  <a:gd name="connsiteY63" fmla="*/ 253 h 563042"/>
                  <a:gd name="connsiteX64" fmla="*/ 266160 w 427721"/>
                  <a:gd name="connsiteY64" fmla="*/ 1100 h 563042"/>
                  <a:gd name="connsiteX65" fmla="*/ 274100 w 427721"/>
                  <a:gd name="connsiteY65" fmla="*/ 6030 h 563042"/>
                  <a:gd name="connsiteX66" fmla="*/ 419582 w 427721"/>
                  <a:gd name="connsiteY66" fmla="*/ 151361 h 563042"/>
                  <a:gd name="connsiteX67" fmla="*/ 427721 w 427721"/>
                  <a:gd name="connsiteY67" fmla="*/ 168638 h 563042"/>
                  <a:gd name="connsiteX68" fmla="*/ 427707 w 427721"/>
                  <a:gd name="connsiteY68" fmla="*/ 168709 h 563042"/>
                  <a:gd name="connsiteX69" fmla="*/ 427721 w 427721"/>
                  <a:gd name="connsiteY69" fmla="*/ 168709 h 563042"/>
                  <a:gd name="connsiteX70" fmla="*/ 427721 w 427721"/>
                  <a:gd name="connsiteY70" fmla="*/ 530012 h 563042"/>
                  <a:gd name="connsiteX71" fmla="*/ 394663 w 427721"/>
                  <a:gd name="connsiteY71" fmla="*/ 563042 h 563042"/>
                  <a:gd name="connsiteX72" fmla="*/ 33058 w 427721"/>
                  <a:gd name="connsiteY72" fmla="*/ 563042 h 563042"/>
                  <a:gd name="connsiteX73" fmla="*/ 0 w 427721"/>
                  <a:gd name="connsiteY73" fmla="*/ 530012 h 563042"/>
                  <a:gd name="connsiteX74" fmla="*/ 0 w 427721"/>
                  <a:gd name="connsiteY74" fmla="*/ 33030 h 563042"/>
                  <a:gd name="connsiteX75" fmla="*/ 33058 w 427721"/>
                  <a:gd name="connsiteY75" fmla="*/ 0 h 5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427721" h="563042">
                    <a:moveTo>
                      <a:pt x="97586" y="425633"/>
                    </a:moveTo>
                    <a:cubicBezTo>
                      <a:pt x="330135" y="425633"/>
                      <a:pt x="330135" y="425633"/>
                      <a:pt x="330135" y="425633"/>
                    </a:cubicBezTo>
                    <a:cubicBezTo>
                      <a:pt x="335672" y="425633"/>
                      <a:pt x="340202" y="430203"/>
                      <a:pt x="340202" y="435788"/>
                    </a:cubicBezTo>
                    <a:cubicBezTo>
                      <a:pt x="340202" y="441373"/>
                      <a:pt x="335672" y="445943"/>
                      <a:pt x="330135" y="445943"/>
                    </a:cubicBezTo>
                    <a:cubicBezTo>
                      <a:pt x="97586" y="445943"/>
                      <a:pt x="97586" y="445943"/>
                      <a:pt x="97586" y="445943"/>
                    </a:cubicBezTo>
                    <a:cubicBezTo>
                      <a:pt x="92049" y="445943"/>
                      <a:pt x="87519" y="441373"/>
                      <a:pt x="87519" y="435788"/>
                    </a:cubicBezTo>
                    <a:cubicBezTo>
                      <a:pt x="87519" y="430203"/>
                      <a:pt x="92049" y="425633"/>
                      <a:pt x="97586" y="425633"/>
                    </a:cubicBezTo>
                    <a:close/>
                    <a:moveTo>
                      <a:pt x="97586" y="377365"/>
                    </a:moveTo>
                    <a:cubicBezTo>
                      <a:pt x="330135" y="377365"/>
                      <a:pt x="330135" y="377365"/>
                      <a:pt x="330135" y="377365"/>
                    </a:cubicBezTo>
                    <a:cubicBezTo>
                      <a:pt x="335672" y="377365"/>
                      <a:pt x="340202" y="381875"/>
                      <a:pt x="340202" y="387388"/>
                    </a:cubicBezTo>
                    <a:cubicBezTo>
                      <a:pt x="340202" y="392901"/>
                      <a:pt x="335672" y="397411"/>
                      <a:pt x="330135" y="397411"/>
                    </a:cubicBezTo>
                    <a:cubicBezTo>
                      <a:pt x="97586" y="397411"/>
                      <a:pt x="97586" y="397411"/>
                      <a:pt x="97586" y="397411"/>
                    </a:cubicBezTo>
                    <a:cubicBezTo>
                      <a:pt x="92049" y="397411"/>
                      <a:pt x="87519" y="392901"/>
                      <a:pt x="87519" y="387388"/>
                    </a:cubicBezTo>
                    <a:cubicBezTo>
                      <a:pt x="87519" y="381875"/>
                      <a:pt x="92049" y="377365"/>
                      <a:pt x="97586" y="377365"/>
                    </a:cubicBezTo>
                    <a:close/>
                    <a:moveTo>
                      <a:pt x="97586" y="332790"/>
                    </a:moveTo>
                    <a:cubicBezTo>
                      <a:pt x="330135" y="332790"/>
                      <a:pt x="330135" y="332790"/>
                      <a:pt x="330135" y="332790"/>
                    </a:cubicBezTo>
                    <a:cubicBezTo>
                      <a:pt x="335672" y="332790"/>
                      <a:pt x="340202" y="337360"/>
                      <a:pt x="340202" y="342945"/>
                    </a:cubicBezTo>
                    <a:cubicBezTo>
                      <a:pt x="340202" y="348530"/>
                      <a:pt x="335672" y="353100"/>
                      <a:pt x="330135" y="353100"/>
                    </a:cubicBezTo>
                    <a:cubicBezTo>
                      <a:pt x="97586" y="353100"/>
                      <a:pt x="97586" y="353100"/>
                      <a:pt x="97586" y="353100"/>
                    </a:cubicBezTo>
                    <a:cubicBezTo>
                      <a:pt x="92049" y="353100"/>
                      <a:pt x="87519" y="348530"/>
                      <a:pt x="87519" y="342945"/>
                    </a:cubicBezTo>
                    <a:cubicBezTo>
                      <a:pt x="87519" y="337360"/>
                      <a:pt x="92049" y="332790"/>
                      <a:pt x="97586" y="332790"/>
                    </a:cubicBezTo>
                    <a:close/>
                    <a:moveTo>
                      <a:pt x="97586" y="284258"/>
                    </a:moveTo>
                    <a:cubicBezTo>
                      <a:pt x="330135" y="284258"/>
                      <a:pt x="330135" y="284258"/>
                      <a:pt x="330135" y="284258"/>
                    </a:cubicBezTo>
                    <a:cubicBezTo>
                      <a:pt x="335672" y="284258"/>
                      <a:pt x="340202" y="288828"/>
                      <a:pt x="340202" y="294413"/>
                    </a:cubicBezTo>
                    <a:cubicBezTo>
                      <a:pt x="340202" y="299998"/>
                      <a:pt x="335672" y="304568"/>
                      <a:pt x="330135" y="304568"/>
                    </a:cubicBezTo>
                    <a:cubicBezTo>
                      <a:pt x="97586" y="304568"/>
                      <a:pt x="97586" y="304568"/>
                      <a:pt x="97586" y="304568"/>
                    </a:cubicBezTo>
                    <a:cubicBezTo>
                      <a:pt x="92049" y="304568"/>
                      <a:pt x="87519" y="299998"/>
                      <a:pt x="87519" y="294413"/>
                    </a:cubicBezTo>
                    <a:cubicBezTo>
                      <a:pt x="87519" y="288828"/>
                      <a:pt x="92049" y="284258"/>
                      <a:pt x="97586" y="284258"/>
                    </a:cubicBezTo>
                    <a:close/>
                    <a:moveTo>
                      <a:pt x="97586" y="239946"/>
                    </a:moveTo>
                    <a:cubicBezTo>
                      <a:pt x="330135" y="239946"/>
                      <a:pt x="330135" y="239946"/>
                      <a:pt x="330135" y="239946"/>
                    </a:cubicBezTo>
                    <a:cubicBezTo>
                      <a:pt x="335672" y="239946"/>
                      <a:pt x="340202" y="244456"/>
                      <a:pt x="340202" y="249969"/>
                    </a:cubicBezTo>
                    <a:cubicBezTo>
                      <a:pt x="340202" y="255983"/>
                      <a:pt x="335672" y="259992"/>
                      <a:pt x="330135" y="259992"/>
                    </a:cubicBezTo>
                    <a:cubicBezTo>
                      <a:pt x="97586" y="259992"/>
                      <a:pt x="97586" y="259992"/>
                      <a:pt x="97586" y="259992"/>
                    </a:cubicBezTo>
                    <a:cubicBezTo>
                      <a:pt x="92049" y="259992"/>
                      <a:pt x="87519" y="255983"/>
                      <a:pt x="87519" y="249969"/>
                    </a:cubicBezTo>
                    <a:cubicBezTo>
                      <a:pt x="87519" y="244456"/>
                      <a:pt x="92049" y="239946"/>
                      <a:pt x="97586" y="239946"/>
                    </a:cubicBezTo>
                    <a:close/>
                    <a:moveTo>
                      <a:pt x="258923" y="20431"/>
                    </a:moveTo>
                    <a:cubicBezTo>
                      <a:pt x="258414" y="20939"/>
                      <a:pt x="257906" y="20939"/>
                      <a:pt x="257906" y="21447"/>
                    </a:cubicBezTo>
                    <a:cubicBezTo>
                      <a:pt x="257906" y="168799"/>
                      <a:pt x="257906" y="168799"/>
                      <a:pt x="257906" y="168799"/>
                    </a:cubicBezTo>
                    <a:cubicBezTo>
                      <a:pt x="257906" y="169307"/>
                      <a:pt x="258414" y="169815"/>
                      <a:pt x="258923" y="169815"/>
                    </a:cubicBezTo>
                    <a:cubicBezTo>
                      <a:pt x="406274" y="169815"/>
                      <a:pt x="406274" y="169815"/>
                      <a:pt x="406274" y="169815"/>
                    </a:cubicBezTo>
                    <a:cubicBezTo>
                      <a:pt x="406782" y="169815"/>
                      <a:pt x="407290" y="169307"/>
                      <a:pt x="407290" y="168799"/>
                    </a:cubicBezTo>
                    <a:cubicBezTo>
                      <a:pt x="407290" y="168291"/>
                      <a:pt x="407290" y="167782"/>
                      <a:pt x="406782" y="167782"/>
                    </a:cubicBezTo>
                    <a:cubicBezTo>
                      <a:pt x="406274" y="167274"/>
                      <a:pt x="406274" y="167274"/>
                      <a:pt x="406274" y="167274"/>
                    </a:cubicBezTo>
                    <a:cubicBezTo>
                      <a:pt x="405766" y="166766"/>
                      <a:pt x="405766" y="166766"/>
                      <a:pt x="405766" y="166766"/>
                    </a:cubicBezTo>
                    <a:cubicBezTo>
                      <a:pt x="259939" y="20939"/>
                      <a:pt x="259939" y="20939"/>
                      <a:pt x="259939" y="20939"/>
                    </a:cubicBezTo>
                    <a:cubicBezTo>
                      <a:pt x="259939" y="20431"/>
                      <a:pt x="259431" y="20431"/>
                      <a:pt x="258923" y="20431"/>
                    </a:cubicBezTo>
                    <a:close/>
                    <a:moveTo>
                      <a:pt x="33058" y="20326"/>
                    </a:moveTo>
                    <a:cubicBezTo>
                      <a:pt x="25938" y="20326"/>
                      <a:pt x="20343" y="25916"/>
                      <a:pt x="20343" y="33030"/>
                    </a:cubicBezTo>
                    <a:cubicBezTo>
                      <a:pt x="20343" y="530012"/>
                      <a:pt x="20343" y="530012"/>
                      <a:pt x="20343" y="530012"/>
                    </a:cubicBezTo>
                    <a:cubicBezTo>
                      <a:pt x="20343" y="537126"/>
                      <a:pt x="25938" y="542716"/>
                      <a:pt x="33058" y="542716"/>
                    </a:cubicBezTo>
                    <a:cubicBezTo>
                      <a:pt x="394663" y="542716"/>
                      <a:pt x="394663" y="542716"/>
                      <a:pt x="394663" y="542716"/>
                    </a:cubicBezTo>
                    <a:cubicBezTo>
                      <a:pt x="401783" y="542716"/>
                      <a:pt x="407378" y="537126"/>
                      <a:pt x="407378" y="530012"/>
                    </a:cubicBezTo>
                    <a:cubicBezTo>
                      <a:pt x="407378" y="326779"/>
                      <a:pt x="407378" y="237865"/>
                      <a:pt x="407378" y="198965"/>
                    </a:cubicBezTo>
                    <a:lnTo>
                      <a:pt x="407378" y="189772"/>
                    </a:lnTo>
                    <a:lnTo>
                      <a:pt x="406357" y="189980"/>
                    </a:lnTo>
                    <a:cubicBezTo>
                      <a:pt x="258840" y="189980"/>
                      <a:pt x="258840" y="189980"/>
                      <a:pt x="258840" y="189980"/>
                    </a:cubicBezTo>
                    <a:cubicBezTo>
                      <a:pt x="247141" y="189980"/>
                      <a:pt x="237476" y="180325"/>
                      <a:pt x="237476" y="168638"/>
                    </a:cubicBezTo>
                    <a:cubicBezTo>
                      <a:pt x="237476" y="21275"/>
                      <a:pt x="237476" y="21275"/>
                      <a:pt x="237476" y="21275"/>
                    </a:cubicBezTo>
                    <a:lnTo>
                      <a:pt x="237616" y="20326"/>
                    </a:lnTo>
                    <a:lnTo>
                      <a:pt x="219122" y="20326"/>
                    </a:lnTo>
                    <a:cubicBezTo>
                      <a:pt x="33058" y="20326"/>
                      <a:pt x="33058" y="20326"/>
                      <a:pt x="33058" y="20326"/>
                    </a:cubicBezTo>
                    <a:close/>
                    <a:moveTo>
                      <a:pt x="33058" y="0"/>
                    </a:moveTo>
                    <a:cubicBezTo>
                      <a:pt x="258871" y="0"/>
                      <a:pt x="258871" y="0"/>
                      <a:pt x="258871" y="0"/>
                    </a:cubicBezTo>
                    <a:lnTo>
                      <a:pt x="258871" y="253"/>
                    </a:lnTo>
                    <a:lnTo>
                      <a:pt x="266160" y="1100"/>
                    </a:lnTo>
                    <a:cubicBezTo>
                      <a:pt x="269093" y="2100"/>
                      <a:pt x="271811" y="3744"/>
                      <a:pt x="274100" y="6030"/>
                    </a:cubicBezTo>
                    <a:cubicBezTo>
                      <a:pt x="419582" y="151361"/>
                      <a:pt x="419582" y="151361"/>
                      <a:pt x="419582" y="151361"/>
                    </a:cubicBezTo>
                    <a:cubicBezTo>
                      <a:pt x="424669" y="155426"/>
                      <a:pt x="427721" y="162032"/>
                      <a:pt x="427721" y="168638"/>
                    </a:cubicBezTo>
                    <a:lnTo>
                      <a:pt x="427707" y="168709"/>
                    </a:lnTo>
                    <a:lnTo>
                      <a:pt x="427721" y="168709"/>
                    </a:lnTo>
                    <a:cubicBezTo>
                      <a:pt x="427721" y="530012"/>
                      <a:pt x="427721" y="530012"/>
                      <a:pt x="427721" y="530012"/>
                    </a:cubicBezTo>
                    <a:cubicBezTo>
                      <a:pt x="427721" y="548305"/>
                      <a:pt x="412972" y="563042"/>
                      <a:pt x="394663" y="563042"/>
                    </a:cubicBezTo>
                    <a:cubicBezTo>
                      <a:pt x="33058" y="563042"/>
                      <a:pt x="33058" y="563042"/>
                      <a:pt x="33058" y="563042"/>
                    </a:cubicBezTo>
                    <a:cubicBezTo>
                      <a:pt x="14749" y="563042"/>
                      <a:pt x="0" y="548305"/>
                      <a:pt x="0" y="530012"/>
                    </a:cubicBezTo>
                    <a:cubicBezTo>
                      <a:pt x="0" y="33030"/>
                      <a:pt x="0" y="33030"/>
                      <a:pt x="0" y="33030"/>
                    </a:cubicBezTo>
                    <a:cubicBezTo>
                      <a:pt x="0" y="14737"/>
                      <a:pt x="14749" y="0"/>
                      <a:pt x="3305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0">
                <a:solidFill>
                  <a:schemeClr val="tx1"/>
                </a:solidFill>
              </a:ln>
              <a:extLst/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836"/>
              </a:p>
            </p:txBody>
          </p:sp>
          <p:sp>
            <p:nvSpPr>
              <p:cNvPr id="53" name="Oval 52"/>
              <p:cNvSpPr>
                <a:spLocks noChangeAspect="1"/>
              </p:cNvSpPr>
              <p:nvPr/>
            </p:nvSpPr>
            <p:spPr bwMode="auto">
              <a:xfrm>
                <a:off x="9193841" y="1891403"/>
                <a:ext cx="2468880" cy="2468880"/>
              </a:xfrm>
              <a:prstGeom prst="ellipse">
                <a:avLst/>
              </a:prstGeom>
              <a:noFill/>
              <a:ln w="25400"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1028">
                  <a:lnSpc>
                    <a:spcPct val="90000"/>
                  </a:lnSpc>
                </a:pPr>
                <a:endParaRPr lang="en-US" sz="2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54" name="Group 53"/>
              <p:cNvGrpSpPr/>
              <p:nvPr/>
            </p:nvGrpSpPr>
            <p:grpSpPr>
              <a:xfrm>
                <a:off x="10312013" y="2323575"/>
                <a:ext cx="194465" cy="338867"/>
                <a:chOff x="9198440" y="3197834"/>
                <a:chExt cx="190669" cy="264056"/>
              </a:xfrm>
              <a:solidFill>
                <a:schemeClr val="tx1"/>
              </a:solidFill>
            </p:grpSpPr>
            <p:sp>
              <p:nvSpPr>
                <p:cNvPr id="60" name="Freeform 18"/>
                <p:cNvSpPr>
                  <a:spLocks/>
                </p:cNvSpPr>
                <p:nvPr/>
              </p:nvSpPr>
              <p:spPr bwMode="auto">
                <a:xfrm>
                  <a:off x="9271169" y="3197834"/>
                  <a:ext cx="45210" cy="264055"/>
                </a:xfrm>
                <a:custGeom>
                  <a:avLst/>
                  <a:gdLst>
                    <a:gd name="T0" fmla="*/ 18 w 36"/>
                    <a:gd name="T1" fmla="*/ 210 h 210"/>
                    <a:gd name="T2" fmla="*/ 0 w 36"/>
                    <a:gd name="T3" fmla="*/ 192 h 210"/>
                    <a:gd name="T4" fmla="*/ 0 w 36"/>
                    <a:gd name="T5" fmla="*/ 18 h 210"/>
                    <a:gd name="T6" fmla="*/ 18 w 36"/>
                    <a:gd name="T7" fmla="*/ 0 h 210"/>
                    <a:gd name="T8" fmla="*/ 36 w 36"/>
                    <a:gd name="T9" fmla="*/ 18 h 210"/>
                    <a:gd name="T10" fmla="*/ 36 w 36"/>
                    <a:gd name="T11" fmla="*/ 192 h 210"/>
                    <a:gd name="T12" fmla="*/ 18 w 36"/>
                    <a:gd name="T13" fmla="*/ 21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" h="210">
                      <a:moveTo>
                        <a:pt x="18" y="210"/>
                      </a:moveTo>
                      <a:cubicBezTo>
                        <a:pt x="8" y="210"/>
                        <a:pt x="0" y="202"/>
                        <a:pt x="0" y="192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28" y="0"/>
                        <a:pt x="36" y="8"/>
                        <a:pt x="36" y="18"/>
                      </a:cubicBezTo>
                      <a:cubicBezTo>
                        <a:pt x="36" y="192"/>
                        <a:pt x="36" y="192"/>
                        <a:pt x="36" y="192"/>
                      </a:cubicBezTo>
                      <a:cubicBezTo>
                        <a:pt x="36" y="202"/>
                        <a:pt x="28" y="210"/>
                        <a:pt x="18" y="210"/>
                      </a:cubicBezTo>
                      <a:close/>
                    </a:path>
                  </a:pathLst>
                </a:custGeom>
                <a:grpFill/>
                <a:ln w="1905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36"/>
                </a:p>
              </p:txBody>
            </p:sp>
            <p:sp>
              <p:nvSpPr>
                <p:cNvPr id="61" name="Freeform 19"/>
                <p:cNvSpPr>
                  <a:spLocks/>
                </p:cNvSpPr>
                <p:nvPr/>
              </p:nvSpPr>
              <p:spPr bwMode="auto">
                <a:xfrm>
                  <a:off x="9343899" y="3245666"/>
                  <a:ext cx="45210" cy="216224"/>
                </a:xfrm>
                <a:custGeom>
                  <a:avLst/>
                  <a:gdLst>
                    <a:gd name="T0" fmla="*/ 18 w 36"/>
                    <a:gd name="T1" fmla="*/ 172 h 172"/>
                    <a:gd name="T2" fmla="*/ 0 w 36"/>
                    <a:gd name="T3" fmla="*/ 154 h 172"/>
                    <a:gd name="T4" fmla="*/ 0 w 36"/>
                    <a:gd name="T5" fmla="*/ 18 h 172"/>
                    <a:gd name="T6" fmla="*/ 18 w 36"/>
                    <a:gd name="T7" fmla="*/ 0 h 172"/>
                    <a:gd name="T8" fmla="*/ 36 w 36"/>
                    <a:gd name="T9" fmla="*/ 18 h 172"/>
                    <a:gd name="T10" fmla="*/ 36 w 36"/>
                    <a:gd name="T11" fmla="*/ 154 h 172"/>
                    <a:gd name="T12" fmla="*/ 18 w 36"/>
                    <a:gd name="T13" fmla="*/ 172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" h="172">
                      <a:moveTo>
                        <a:pt x="18" y="172"/>
                      </a:moveTo>
                      <a:cubicBezTo>
                        <a:pt x="8" y="172"/>
                        <a:pt x="0" y="164"/>
                        <a:pt x="0" y="154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28" y="0"/>
                        <a:pt x="36" y="8"/>
                        <a:pt x="36" y="18"/>
                      </a:cubicBezTo>
                      <a:cubicBezTo>
                        <a:pt x="36" y="154"/>
                        <a:pt x="36" y="154"/>
                        <a:pt x="36" y="154"/>
                      </a:cubicBezTo>
                      <a:cubicBezTo>
                        <a:pt x="36" y="164"/>
                        <a:pt x="28" y="172"/>
                        <a:pt x="18" y="172"/>
                      </a:cubicBezTo>
                      <a:close/>
                    </a:path>
                  </a:pathLst>
                </a:custGeom>
                <a:grpFill/>
                <a:ln w="1905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36"/>
                </a:p>
              </p:txBody>
            </p:sp>
            <p:sp>
              <p:nvSpPr>
                <p:cNvPr id="62" name="Freeform 20"/>
                <p:cNvSpPr>
                  <a:spLocks/>
                </p:cNvSpPr>
                <p:nvPr/>
              </p:nvSpPr>
              <p:spPr bwMode="auto">
                <a:xfrm>
                  <a:off x="9198440" y="3222732"/>
                  <a:ext cx="45210" cy="239157"/>
                </a:xfrm>
                <a:custGeom>
                  <a:avLst/>
                  <a:gdLst>
                    <a:gd name="T0" fmla="*/ 18 w 36"/>
                    <a:gd name="T1" fmla="*/ 190 h 190"/>
                    <a:gd name="T2" fmla="*/ 0 w 36"/>
                    <a:gd name="T3" fmla="*/ 172 h 190"/>
                    <a:gd name="T4" fmla="*/ 0 w 36"/>
                    <a:gd name="T5" fmla="*/ 18 h 190"/>
                    <a:gd name="T6" fmla="*/ 18 w 36"/>
                    <a:gd name="T7" fmla="*/ 0 h 190"/>
                    <a:gd name="T8" fmla="*/ 36 w 36"/>
                    <a:gd name="T9" fmla="*/ 18 h 190"/>
                    <a:gd name="T10" fmla="*/ 36 w 36"/>
                    <a:gd name="T11" fmla="*/ 172 h 190"/>
                    <a:gd name="T12" fmla="*/ 18 w 36"/>
                    <a:gd name="T13" fmla="*/ 19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" h="190">
                      <a:moveTo>
                        <a:pt x="18" y="190"/>
                      </a:moveTo>
                      <a:cubicBezTo>
                        <a:pt x="8" y="190"/>
                        <a:pt x="0" y="182"/>
                        <a:pt x="0" y="172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28" y="0"/>
                        <a:pt x="36" y="8"/>
                        <a:pt x="36" y="18"/>
                      </a:cubicBezTo>
                      <a:cubicBezTo>
                        <a:pt x="36" y="172"/>
                        <a:pt x="36" y="172"/>
                        <a:pt x="36" y="172"/>
                      </a:cubicBezTo>
                      <a:cubicBezTo>
                        <a:pt x="36" y="182"/>
                        <a:pt x="28" y="190"/>
                        <a:pt x="18" y="190"/>
                      </a:cubicBezTo>
                      <a:close/>
                    </a:path>
                  </a:pathLst>
                </a:custGeom>
                <a:grpFill/>
                <a:ln w="1905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36"/>
                </a:p>
              </p:txBody>
            </p:sp>
          </p:grpSp>
          <p:sp>
            <p:nvSpPr>
              <p:cNvPr id="55" name="Freeform 430"/>
              <p:cNvSpPr>
                <a:spLocks/>
              </p:cNvSpPr>
              <p:nvPr/>
            </p:nvSpPr>
            <p:spPr bwMode="auto">
              <a:xfrm rot="181633">
                <a:off x="10027371" y="2942230"/>
                <a:ext cx="752773" cy="455093"/>
              </a:xfrm>
              <a:custGeom>
                <a:avLst/>
                <a:gdLst>
                  <a:gd name="connsiteX0" fmla="*/ 150847 w 738080"/>
                  <a:gd name="connsiteY0" fmla="*/ 14623 h 446210"/>
                  <a:gd name="connsiteX1" fmla="*/ 165569 w 738080"/>
                  <a:gd name="connsiteY1" fmla="*/ 24574 h 446210"/>
                  <a:gd name="connsiteX2" fmla="*/ 308259 w 738080"/>
                  <a:gd name="connsiteY2" fmla="*/ 247715 h 446210"/>
                  <a:gd name="connsiteX3" fmla="*/ 331910 w 738080"/>
                  <a:gd name="connsiteY3" fmla="*/ 284701 h 446210"/>
                  <a:gd name="connsiteX4" fmla="*/ 322630 w 738080"/>
                  <a:gd name="connsiteY4" fmla="*/ 251456 h 446210"/>
                  <a:gd name="connsiteX5" fmla="*/ 268020 w 738080"/>
                  <a:gd name="connsiteY5" fmla="*/ 55844 h 446210"/>
                  <a:gd name="connsiteX6" fmla="*/ 284083 w 738080"/>
                  <a:gd name="connsiteY6" fmla="*/ 28561 h 446210"/>
                  <a:gd name="connsiteX7" fmla="*/ 312377 w 738080"/>
                  <a:gd name="connsiteY7" fmla="*/ 43428 h 446210"/>
                  <a:gd name="connsiteX8" fmla="*/ 371238 w 738080"/>
                  <a:gd name="connsiteY8" fmla="*/ 254265 h 446210"/>
                  <a:gd name="connsiteX9" fmla="*/ 383622 w 738080"/>
                  <a:gd name="connsiteY9" fmla="*/ 298627 h 446210"/>
                  <a:gd name="connsiteX10" fmla="*/ 384649 w 738080"/>
                  <a:gd name="connsiteY10" fmla="*/ 288307 h 446210"/>
                  <a:gd name="connsiteX11" fmla="*/ 409797 w 738080"/>
                  <a:gd name="connsiteY11" fmla="*/ 35555 h 446210"/>
                  <a:gd name="connsiteX12" fmla="*/ 434973 w 738080"/>
                  <a:gd name="connsiteY12" fmla="*/ 15333 h 446210"/>
                  <a:gd name="connsiteX13" fmla="*/ 454996 w 738080"/>
                  <a:gd name="connsiteY13" fmla="*/ 39462 h 446210"/>
                  <a:gd name="connsiteX14" fmla="*/ 431396 w 738080"/>
                  <a:gd name="connsiteY14" fmla="*/ 276659 h 446210"/>
                  <a:gd name="connsiteX15" fmla="*/ 431173 w 738080"/>
                  <a:gd name="connsiteY15" fmla="*/ 278896 h 446210"/>
                  <a:gd name="connsiteX16" fmla="*/ 432683 w 738080"/>
                  <a:gd name="connsiteY16" fmla="*/ 275822 h 446210"/>
                  <a:gd name="connsiteX17" fmla="*/ 561873 w 738080"/>
                  <a:gd name="connsiteY17" fmla="*/ 12676 h 446210"/>
                  <a:gd name="connsiteX18" fmla="*/ 592735 w 738080"/>
                  <a:gd name="connsiteY18" fmla="*/ 2234 h 446210"/>
                  <a:gd name="connsiteX19" fmla="*/ 603166 w 738080"/>
                  <a:gd name="connsiteY19" fmla="*/ 33146 h 446210"/>
                  <a:gd name="connsiteX20" fmla="*/ 490915 w 738080"/>
                  <a:gd name="connsiteY20" fmla="*/ 259547 h 446210"/>
                  <a:gd name="connsiteX21" fmla="*/ 473469 w 738080"/>
                  <a:gd name="connsiteY21" fmla="*/ 294736 h 446210"/>
                  <a:gd name="connsiteX22" fmla="*/ 522204 w 738080"/>
                  <a:gd name="connsiteY22" fmla="*/ 237169 h 446210"/>
                  <a:gd name="connsiteX23" fmla="*/ 698137 w 738080"/>
                  <a:gd name="connsiteY23" fmla="*/ 29352 h 446210"/>
                  <a:gd name="connsiteX24" fmla="*/ 730655 w 738080"/>
                  <a:gd name="connsiteY24" fmla="*/ 27633 h 446210"/>
                  <a:gd name="connsiteX25" fmla="*/ 732313 w 738080"/>
                  <a:gd name="connsiteY25" fmla="*/ 58981 h 446210"/>
                  <a:gd name="connsiteX26" fmla="*/ 413526 w 738080"/>
                  <a:gd name="connsiteY26" fmla="*/ 434207 h 446210"/>
                  <a:gd name="connsiteX27" fmla="*/ 407316 w 738080"/>
                  <a:gd name="connsiteY27" fmla="*/ 437489 h 446210"/>
                  <a:gd name="connsiteX28" fmla="*/ 404867 w 738080"/>
                  <a:gd name="connsiteY28" fmla="*/ 440701 h 446210"/>
                  <a:gd name="connsiteX29" fmla="*/ 398774 w 738080"/>
                  <a:gd name="connsiteY29" fmla="*/ 442004 h 446210"/>
                  <a:gd name="connsiteX30" fmla="*/ 397665 w 738080"/>
                  <a:gd name="connsiteY30" fmla="*/ 442590 h 446210"/>
                  <a:gd name="connsiteX31" fmla="*/ 397019 w 738080"/>
                  <a:gd name="connsiteY31" fmla="*/ 442380 h 446210"/>
                  <a:gd name="connsiteX32" fmla="*/ 396917 w 738080"/>
                  <a:gd name="connsiteY32" fmla="*/ 442401 h 446210"/>
                  <a:gd name="connsiteX33" fmla="*/ 388966 w 738080"/>
                  <a:gd name="connsiteY33" fmla="*/ 446157 h 446210"/>
                  <a:gd name="connsiteX34" fmla="*/ 372773 w 738080"/>
                  <a:gd name="connsiteY34" fmla="*/ 440509 h 446210"/>
                  <a:gd name="connsiteX35" fmla="*/ 7292 w 738080"/>
                  <a:gd name="connsiteY35" fmla="*/ 95603 h 446210"/>
                  <a:gd name="connsiteX36" fmla="*/ 5577 w 738080"/>
                  <a:gd name="connsiteY36" fmla="*/ 63173 h 446210"/>
                  <a:gd name="connsiteX37" fmla="*/ 37278 w 738080"/>
                  <a:gd name="connsiteY37" fmla="*/ 61497 h 446210"/>
                  <a:gd name="connsiteX38" fmla="*/ 248571 w 738080"/>
                  <a:gd name="connsiteY38" fmla="*/ 260895 h 446210"/>
                  <a:gd name="connsiteX39" fmla="*/ 287496 w 738080"/>
                  <a:gd name="connsiteY39" fmla="*/ 297629 h 446210"/>
                  <a:gd name="connsiteX40" fmla="*/ 259788 w 738080"/>
                  <a:gd name="connsiteY40" fmla="*/ 254518 h 446210"/>
                  <a:gd name="connsiteX41" fmla="*/ 126730 w 738080"/>
                  <a:gd name="connsiteY41" fmla="*/ 47491 h 446210"/>
                  <a:gd name="connsiteX42" fmla="*/ 134247 w 738080"/>
                  <a:gd name="connsiteY42" fmla="*/ 17337 h 446210"/>
                  <a:gd name="connsiteX43" fmla="*/ 150847 w 738080"/>
                  <a:gd name="connsiteY43" fmla="*/ 14623 h 446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738080" h="446210">
                    <a:moveTo>
                      <a:pt x="150847" y="14623"/>
                    </a:moveTo>
                    <a:cubicBezTo>
                      <a:pt x="156485" y="15829"/>
                      <a:pt x="161810" y="19146"/>
                      <a:pt x="165569" y="24574"/>
                    </a:cubicBezTo>
                    <a:cubicBezTo>
                      <a:pt x="227273" y="121067"/>
                      <a:pt x="273551" y="193437"/>
                      <a:pt x="308259" y="247715"/>
                    </a:cubicBezTo>
                    <a:lnTo>
                      <a:pt x="331910" y="284701"/>
                    </a:lnTo>
                    <a:lnTo>
                      <a:pt x="322630" y="251456"/>
                    </a:lnTo>
                    <a:cubicBezTo>
                      <a:pt x="268020" y="55844"/>
                      <a:pt x="268020" y="55844"/>
                      <a:pt x="268020" y="55844"/>
                    </a:cubicBezTo>
                    <a:cubicBezTo>
                      <a:pt x="264929" y="44679"/>
                      <a:pt x="271747" y="31731"/>
                      <a:pt x="284083" y="28561"/>
                    </a:cubicBezTo>
                    <a:cubicBezTo>
                      <a:pt x="296419" y="25391"/>
                      <a:pt x="308039" y="32329"/>
                      <a:pt x="312377" y="43428"/>
                    </a:cubicBezTo>
                    <a:cubicBezTo>
                      <a:pt x="337831" y="134601"/>
                      <a:pt x="356920" y="202980"/>
                      <a:pt x="371238" y="254265"/>
                    </a:cubicBezTo>
                    <a:lnTo>
                      <a:pt x="383622" y="298627"/>
                    </a:lnTo>
                    <a:lnTo>
                      <a:pt x="384649" y="288307"/>
                    </a:lnTo>
                    <a:cubicBezTo>
                      <a:pt x="409797" y="35555"/>
                      <a:pt x="409797" y="35555"/>
                      <a:pt x="409797" y="35555"/>
                    </a:cubicBezTo>
                    <a:cubicBezTo>
                      <a:pt x="411625" y="22865"/>
                      <a:pt x="422377" y="13480"/>
                      <a:pt x="434973" y="15333"/>
                    </a:cubicBezTo>
                    <a:cubicBezTo>
                      <a:pt x="447503" y="15930"/>
                      <a:pt x="455644" y="28093"/>
                      <a:pt x="454996" y="39462"/>
                    </a:cubicBezTo>
                    <a:cubicBezTo>
                      <a:pt x="444438" y="145574"/>
                      <a:pt x="436850" y="221841"/>
                      <a:pt x="431396" y="276659"/>
                    </a:cubicBezTo>
                    <a:lnTo>
                      <a:pt x="431173" y="278896"/>
                    </a:lnTo>
                    <a:lnTo>
                      <a:pt x="432683" y="275822"/>
                    </a:lnTo>
                    <a:cubicBezTo>
                      <a:pt x="561873" y="12676"/>
                      <a:pt x="561873" y="12676"/>
                      <a:pt x="561873" y="12676"/>
                    </a:cubicBezTo>
                    <a:cubicBezTo>
                      <a:pt x="567608" y="2304"/>
                      <a:pt x="581126" y="-3445"/>
                      <a:pt x="592735" y="2234"/>
                    </a:cubicBezTo>
                    <a:cubicBezTo>
                      <a:pt x="603092" y="7979"/>
                      <a:pt x="608834" y="21520"/>
                      <a:pt x="603166" y="33146"/>
                    </a:cubicBezTo>
                    <a:cubicBezTo>
                      <a:pt x="554626" y="131049"/>
                      <a:pt x="518220" y="204477"/>
                      <a:pt x="490915" y="259547"/>
                    </a:cubicBezTo>
                    <a:lnTo>
                      <a:pt x="473469" y="294736"/>
                    </a:lnTo>
                    <a:lnTo>
                      <a:pt x="522204" y="237169"/>
                    </a:lnTo>
                    <a:cubicBezTo>
                      <a:pt x="698137" y="29352"/>
                      <a:pt x="698137" y="29352"/>
                      <a:pt x="698137" y="29352"/>
                    </a:cubicBezTo>
                    <a:cubicBezTo>
                      <a:pt x="706428" y="20112"/>
                      <a:pt x="721436" y="19318"/>
                      <a:pt x="730655" y="27633"/>
                    </a:cubicBezTo>
                    <a:cubicBezTo>
                      <a:pt x="739874" y="35947"/>
                      <a:pt x="740603" y="49740"/>
                      <a:pt x="732313" y="58981"/>
                    </a:cubicBezTo>
                    <a:cubicBezTo>
                      <a:pt x="413526" y="434207"/>
                      <a:pt x="413526" y="434207"/>
                      <a:pt x="413526" y="434207"/>
                    </a:cubicBezTo>
                    <a:lnTo>
                      <a:pt x="407316" y="437489"/>
                    </a:lnTo>
                    <a:lnTo>
                      <a:pt x="404867" y="440701"/>
                    </a:lnTo>
                    <a:lnTo>
                      <a:pt x="398774" y="442004"/>
                    </a:lnTo>
                    <a:lnTo>
                      <a:pt x="397665" y="442590"/>
                    </a:lnTo>
                    <a:lnTo>
                      <a:pt x="397019" y="442380"/>
                    </a:lnTo>
                    <a:lnTo>
                      <a:pt x="396917" y="442401"/>
                    </a:lnTo>
                    <a:lnTo>
                      <a:pt x="388966" y="446157"/>
                    </a:lnTo>
                    <a:cubicBezTo>
                      <a:pt x="382870" y="446479"/>
                      <a:pt x="377924" y="445440"/>
                      <a:pt x="372773" y="440509"/>
                    </a:cubicBezTo>
                    <a:cubicBezTo>
                      <a:pt x="7292" y="95603"/>
                      <a:pt x="7292" y="95603"/>
                      <a:pt x="7292" y="95603"/>
                    </a:cubicBezTo>
                    <a:cubicBezTo>
                      <a:pt x="-1723" y="86974"/>
                      <a:pt x="-2478" y="72705"/>
                      <a:pt x="5577" y="63173"/>
                    </a:cubicBezTo>
                    <a:cubicBezTo>
                      <a:pt x="13632" y="53641"/>
                      <a:pt x="28262" y="52868"/>
                      <a:pt x="37278" y="61497"/>
                    </a:cubicBezTo>
                    <a:cubicBezTo>
                      <a:pt x="128648" y="147723"/>
                      <a:pt x="197176" y="212393"/>
                      <a:pt x="248571" y="260895"/>
                    </a:cubicBezTo>
                    <a:lnTo>
                      <a:pt x="287496" y="297629"/>
                    </a:lnTo>
                    <a:lnTo>
                      <a:pt x="259788" y="254518"/>
                    </a:lnTo>
                    <a:cubicBezTo>
                      <a:pt x="126730" y="47491"/>
                      <a:pt x="126730" y="47491"/>
                      <a:pt x="126730" y="47491"/>
                    </a:cubicBezTo>
                    <a:cubicBezTo>
                      <a:pt x="120465" y="36636"/>
                      <a:pt x="122971" y="23368"/>
                      <a:pt x="134247" y="17337"/>
                    </a:cubicBezTo>
                    <a:cubicBezTo>
                      <a:pt x="139259" y="14321"/>
                      <a:pt x="145209" y="13417"/>
                      <a:pt x="150847" y="1462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5875"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836"/>
              </a:p>
            </p:txBody>
          </p:sp>
          <p:sp>
            <p:nvSpPr>
              <p:cNvPr id="56" name="Freeform 10"/>
              <p:cNvSpPr>
                <a:spLocks noEditPoints="1"/>
              </p:cNvSpPr>
              <p:nvPr/>
            </p:nvSpPr>
            <p:spPr bwMode="auto">
              <a:xfrm>
                <a:off x="10027330" y="2633037"/>
                <a:ext cx="770513" cy="387595"/>
              </a:xfrm>
              <a:custGeom>
                <a:avLst/>
                <a:gdLst>
                  <a:gd name="T0" fmla="*/ 602 w 603"/>
                  <a:gd name="T1" fmla="*/ 279 h 303"/>
                  <a:gd name="T2" fmla="*/ 298 w 603"/>
                  <a:gd name="T3" fmla="*/ 0 h 303"/>
                  <a:gd name="T4" fmla="*/ 1 w 603"/>
                  <a:gd name="T5" fmla="*/ 282 h 303"/>
                  <a:gd name="T6" fmla="*/ 16 w 603"/>
                  <a:gd name="T7" fmla="*/ 301 h 303"/>
                  <a:gd name="T8" fmla="*/ 36 w 603"/>
                  <a:gd name="T9" fmla="*/ 288 h 303"/>
                  <a:gd name="T10" fmla="*/ 75 w 603"/>
                  <a:gd name="T11" fmla="*/ 258 h 303"/>
                  <a:gd name="T12" fmla="*/ 116 w 603"/>
                  <a:gd name="T13" fmla="*/ 286 h 303"/>
                  <a:gd name="T14" fmla="*/ 131 w 603"/>
                  <a:gd name="T15" fmla="*/ 294 h 303"/>
                  <a:gd name="T16" fmla="*/ 146 w 603"/>
                  <a:gd name="T17" fmla="*/ 286 h 303"/>
                  <a:gd name="T18" fmla="*/ 187 w 603"/>
                  <a:gd name="T19" fmla="*/ 258 h 303"/>
                  <a:gd name="T20" fmla="*/ 227 w 603"/>
                  <a:gd name="T21" fmla="*/ 286 h 303"/>
                  <a:gd name="T22" fmla="*/ 242 w 603"/>
                  <a:gd name="T23" fmla="*/ 294 h 303"/>
                  <a:gd name="T24" fmla="*/ 242 w 603"/>
                  <a:gd name="T25" fmla="*/ 294 h 303"/>
                  <a:gd name="T26" fmla="*/ 258 w 603"/>
                  <a:gd name="T27" fmla="*/ 286 h 303"/>
                  <a:gd name="T28" fmla="*/ 298 w 603"/>
                  <a:gd name="T29" fmla="*/ 258 h 303"/>
                  <a:gd name="T30" fmla="*/ 339 w 603"/>
                  <a:gd name="T31" fmla="*/ 286 h 303"/>
                  <a:gd name="T32" fmla="*/ 354 w 603"/>
                  <a:gd name="T33" fmla="*/ 294 h 303"/>
                  <a:gd name="T34" fmla="*/ 354 w 603"/>
                  <a:gd name="T35" fmla="*/ 294 h 303"/>
                  <a:gd name="T36" fmla="*/ 369 w 603"/>
                  <a:gd name="T37" fmla="*/ 286 h 303"/>
                  <a:gd name="T38" fmla="*/ 410 w 603"/>
                  <a:gd name="T39" fmla="*/ 258 h 303"/>
                  <a:gd name="T40" fmla="*/ 451 w 603"/>
                  <a:gd name="T41" fmla="*/ 286 h 303"/>
                  <a:gd name="T42" fmla="*/ 466 w 603"/>
                  <a:gd name="T43" fmla="*/ 294 h 303"/>
                  <a:gd name="T44" fmla="*/ 466 w 603"/>
                  <a:gd name="T45" fmla="*/ 294 h 303"/>
                  <a:gd name="T46" fmla="*/ 481 w 603"/>
                  <a:gd name="T47" fmla="*/ 286 h 303"/>
                  <a:gd name="T48" fmla="*/ 522 w 603"/>
                  <a:gd name="T49" fmla="*/ 258 h 303"/>
                  <a:gd name="T50" fmla="*/ 569 w 603"/>
                  <a:gd name="T51" fmla="*/ 291 h 303"/>
                  <a:gd name="T52" fmla="*/ 585 w 603"/>
                  <a:gd name="T53" fmla="*/ 301 h 303"/>
                  <a:gd name="T54" fmla="*/ 585 w 603"/>
                  <a:gd name="T55" fmla="*/ 301 h 303"/>
                  <a:gd name="T56" fmla="*/ 603 w 603"/>
                  <a:gd name="T57" fmla="*/ 283 h 303"/>
                  <a:gd name="T58" fmla="*/ 602 w 603"/>
                  <a:gd name="T59" fmla="*/ 279 h 303"/>
                  <a:gd name="T60" fmla="*/ 522 w 603"/>
                  <a:gd name="T61" fmla="*/ 222 h 303"/>
                  <a:gd name="T62" fmla="*/ 466 w 603"/>
                  <a:gd name="T63" fmla="*/ 248 h 303"/>
                  <a:gd name="T64" fmla="*/ 410 w 603"/>
                  <a:gd name="T65" fmla="*/ 222 h 303"/>
                  <a:gd name="T66" fmla="*/ 354 w 603"/>
                  <a:gd name="T67" fmla="*/ 248 h 303"/>
                  <a:gd name="T68" fmla="*/ 298 w 603"/>
                  <a:gd name="T69" fmla="*/ 222 h 303"/>
                  <a:gd name="T70" fmla="*/ 243 w 603"/>
                  <a:gd name="T71" fmla="*/ 247 h 303"/>
                  <a:gd name="T72" fmla="*/ 187 w 603"/>
                  <a:gd name="T73" fmla="*/ 222 h 303"/>
                  <a:gd name="T74" fmla="*/ 131 w 603"/>
                  <a:gd name="T75" fmla="*/ 247 h 303"/>
                  <a:gd name="T76" fmla="*/ 75 w 603"/>
                  <a:gd name="T77" fmla="*/ 222 h 303"/>
                  <a:gd name="T78" fmla="*/ 48 w 603"/>
                  <a:gd name="T79" fmla="*/ 226 h 303"/>
                  <a:gd name="T80" fmla="*/ 298 w 603"/>
                  <a:gd name="T81" fmla="*/ 36 h 303"/>
                  <a:gd name="T82" fmla="*/ 553 w 603"/>
                  <a:gd name="T83" fmla="*/ 228 h 303"/>
                  <a:gd name="T84" fmla="*/ 522 w 603"/>
                  <a:gd name="T85" fmla="*/ 222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03" h="303">
                    <a:moveTo>
                      <a:pt x="602" y="279"/>
                    </a:moveTo>
                    <a:cubicBezTo>
                      <a:pt x="579" y="117"/>
                      <a:pt x="451" y="0"/>
                      <a:pt x="298" y="0"/>
                    </a:cubicBezTo>
                    <a:cubicBezTo>
                      <a:pt x="144" y="0"/>
                      <a:pt x="16" y="121"/>
                      <a:pt x="1" y="282"/>
                    </a:cubicBezTo>
                    <a:cubicBezTo>
                      <a:pt x="0" y="291"/>
                      <a:pt x="7" y="299"/>
                      <a:pt x="16" y="301"/>
                    </a:cubicBezTo>
                    <a:cubicBezTo>
                      <a:pt x="25" y="303"/>
                      <a:pt x="34" y="297"/>
                      <a:pt x="36" y="288"/>
                    </a:cubicBezTo>
                    <a:cubicBezTo>
                      <a:pt x="41" y="268"/>
                      <a:pt x="54" y="258"/>
                      <a:pt x="75" y="258"/>
                    </a:cubicBezTo>
                    <a:cubicBezTo>
                      <a:pt x="92" y="258"/>
                      <a:pt x="102" y="265"/>
                      <a:pt x="116" y="286"/>
                    </a:cubicBezTo>
                    <a:cubicBezTo>
                      <a:pt x="119" y="291"/>
                      <a:pt x="125" y="294"/>
                      <a:pt x="131" y="294"/>
                    </a:cubicBezTo>
                    <a:cubicBezTo>
                      <a:pt x="137" y="294"/>
                      <a:pt x="142" y="291"/>
                      <a:pt x="146" y="286"/>
                    </a:cubicBezTo>
                    <a:cubicBezTo>
                      <a:pt x="157" y="269"/>
                      <a:pt x="173" y="258"/>
                      <a:pt x="187" y="258"/>
                    </a:cubicBezTo>
                    <a:cubicBezTo>
                      <a:pt x="204" y="258"/>
                      <a:pt x="214" y="265"/>
                      <a:pt x="227" y="286"/>
                    </a:cubicBezTo>
                    <a:cubicBezTo>
                      <a:pt x="231" y="291"/>
                      <a:pt x="236" y="294"/>
                      <a:pt x="242" y="294"/>
                    </a:cubicBezTo>
                    <a:cubicBezTo>
                      <a:pt x="242" y="294"/>
                      <a:pt x="242" y="294"/>
                      <a:pt x="242" y="294"/>
                    </a:cubicBezTo>
                    <a:cubicBezTo>
                      <a:pt x="249" y="294"/>
                      <a:pt x="254" y="291"/>
                      <a:pt x="258" y="286"/>
                    </a:cubicBezTo>
                    <a:cubicBezTo>
                      <a:pt x="269" y="269"/>
                      <a:pt x="284" y="258"/>
                      <a:pt x="298" y="258"/>
                    </a:cubicBezTo>
                    <a:cubicBezTo>
                      <a:pt x="312" y="258"/>
                      <a:pt x="328" y="269"/>
                      <a:pt x="339" y="286"/>
                    </a:cubicBezTo>
                    <a:cubicBezTo>
                      <a:pt x="342" y="291"/>
                      <a:pt x="348" y="294"/>
                      <a:pt x="354" y="294"/>
                    </a:cubicBezTo>
                    <a:cubicBezTo>
                      <a:pt x="354" y="294"/>
                      <a:pt x="354" y="294"/>
                      <a:pt x="354" y="294"/>
                    </a:cubicBezTo>
                    <a:cubicBezTo>
                      <a:pt x="360" y="294"/>
                      <a:pt x="366" y="291"/>
                      <a:pt x="369" y="286"/>
                    </a:cubicBezTo>
                    <a:cubicBezTo>
                      <a:pt x="380" y="269"/>
                      <a:pt x="396" y="258"/>
                      <a:pt x="410" y="258"/>
                    </a:cubicBezTo>
                    <a:cubicBezTo>
                      <a:pt x="424" y="258"/>
                      <a:pt x="440" y="269"/>
                      <a:pt x="451" y="286"/>
                    </a:cubicBezTo>
                    <a:cubicBezTo>
                      <a:pt x="454" y="291"/>
                      <a:pt x="460" y="294"/>
                      <a:pt x="466" y="294"/>
                    </a:cubicBezTo>
                    <a:cubicBezTo>
                      <a:pt x="466" y="294"/>
                      <a:pt x="466" y="294"/>
                      <a:pt x="466" y="294"/>
                    </a:cubicBezTo>
                    <a:cubicBezTo>
                      <a:pt x="472" y="294"/>
                      <a:pt x="478" y="291"/>
                      <a:pt x="481" y="286"/>
                    </a:cubicBezTo>
                    <a:cubicBezTo>
                      <a:pt x="492" y="269"/>
                      <a:pt x="508" y="258"/>
                      <a:pt x="522" y="258"/>
                    </a:cubicBezTo>
                    <a:cubicBezTo>
                      <a:pt x="543" y="258"/>
                      <a:pt x="558" y="269"/>
                      <a:pt x="569" y="291"/>
                    </a:cubicBezTo>
                    <a:cubicBezTo>
                      <a:pt x="572" y="297"/>
                      <a:pt x="578" y="301"/>
                      <a:pt x="585" y="301"/>
                    </a:cubicBezTo>
                    <a:cubicBezTo>
                      <a:pt x="585" y="301"/>
                      <a:pt x="585" y="301"/>
                      <a:pt x="585" y="301"/>
                    </a:cubicBezTo>
                    <a:cubicBezTo>
                      <a:pt x="595" y="301"/>
                      <a:pt x="603" y="293"/>
                      <a:pt x="603" y="283"/>
                    </a:cubicBezTo>
                    <a:cubicBezTo>
                      <a:pt x="603" y="282"/>
                      <a:pt x="603" y="280"/>
                      <a:pt x="602" y="279"/>
                    </a:cubicBezTo>
                    <a:close/>
                    <a:moveTo>
                      <a:pt x="522" y="222"/>
                    </a:moveTo>
                    <a:cubicBezTo>
                      <a:pt x="502" y="222"/>
                      <a:pt x="482" y="231"/>
                      <a:pt x="466" y="248"/>
                    </a:cubicBezTo>
                    <a:cubicBezTo>
                      <a:pt x="450" y="231"/>
                      <a:pt x="430" y="222"/>
                      <a:pt x="410" y="222"/>
                    </a:cubicBezTo>
                    <a:cubicBezTo>
                      <a:pt x="390" y="222"/>
                      <a:pt x="370" y="231"/>
                      <a:pt x="354" y="248"/>
                    </a:cubicBezTo>
                    <a:cubicBezTo>
                      <a:pt x="338" y="231"/>
                      <a:pt x="318" y="222"/>
                      <a:pt x="298" y="222"/>
                    </a:cubicBezTo>
                    <a:cubicBezTo>
                      <a:pt x="279" y="222"/>
                      <a:pt x="259" y="231"/>
                      <a:pt x="243" y="247"/>
                    </a:cubicBezTo>
                    <a:cubicBezTo>
                      <a:pt x="230" y="233"/>
                      <a:pt x="213" y="222"/>
                      <a:pt x="187" y="222"/>
                    </a:cubicBezTo>
                    <a:cubicBezTo>
                      <a:pt x="167" y="222"/>
                      <a:pt x="147" y="231"/>
                      <a:pt x="131" y="247"/>
                    </a:cubicBezTo>
                    <a:cubicBezTo>
                      <a:pt x="118" y="233"/>
                      <a:pt x="101" y="222"/>
                      <a:pt x="75" y="222"/>
                    </a:cubicBezTo>
                    <a:cubicBezTo>
                      <a:pt x="65" y="222"/>
                      <a:pt x="57" y="224"/>
                      <a:pt x="48" y="226"/>
                    </a:cubicBezTo>
                    <a:cubicBezTo>
                      <a:pt x="83" y="115"/>
                      <a:pt x="182" y="36"/>
                      <a:pt x="298" y="36"/>
                    </a:cubicBezTo>
                    <a:cubicBezTo>
                      <a:pt x="415" y="36"/>
                      <a:pt x="515" y="114"/>
                      <a:pt x="553" y="228"/>
                    </a:cubicBezTo>
                    <a:cubicBezTo>
                      <a:pt x="542" y="224"/>
                      <a:pt x="531" y="222"/>
                      <a:pt x="522" y="22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5875">
                <a:noFill/>
                <a:round/>
                <a:headEnd/>
                <a:tailEnd/>
              </a:ln>
              <a:extLst/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6"/>
              </a:p>
            </p:txBody>
          </p:sp>
          <p:sp>
            <p:nvSpPr>
              <p:cNvPr id="57" name="Freeform 11"/>
              <p:cNvSpPr>
                <a:spLocks noEditPoints="1"/>
              </p:cNvSpPr>
              <p:nvPr/>
            </p:nvSpPr>
            <p:spPr bwMode="auto">
              <a:xfrm>
                <a:off x="10027330" y="2633037"/>
                <a:ext cx="433037" cy="385590"/>
              </a:xfrm>
              <a:custGeom>
                <a:avLst/>
                <a:gdLst>
                  <a:gd name="T0" fmla="*/ 337 w 339"/>
                  <a:gd name="T1" fmla="*/ 14 h 301"/>
                  <a:gd name="T2" fmla="*/ 320 w 339"/>
                  <a:gd name="T3" fmla="*/ 0 h 301"/>
                  <a:gd name="T4" fmla="*/ 306 w 339"/>
                  <a:gd name="T5" fmla="*/ 0 h 301"/>
                  <a:gd name="T6" fmla="*/ 1 w 339"/>
                  <a:gd name="T7" fmla="*/ 282 h 301"/>
                  <a:gd name="T8" fmla="*/ 16 w 339"/>
                  <a:gd name="T9" fmla="*/ 301 h 301"/>
                  <a:gd name="T10" fmla="*/ 19 w 339"/>
                  <a:gd name="T11" fmla="*/ 301 h 301"/>
                  <a:gd name="T12" fmla="*/ 36 w 339"/>
                  <a:gd name="T13" fmla="*/ 288 h 301"/>
                  <a:gd name="T14" fmla="*/ 76 w 339"/>
                  <a:gd name="T15" fmla="*/ 258 h 301"/>
                  <a:gd name="T16" fmla="*/ 119 w 339"/>
                  <a:gd name="T17" fmla="*/ 286 h 301"/>
                  <a:gd name="T18" fmla="*/ 138 w 339"/>
                  <a:gd name="T19" fmla="*/ 294 h 301"/>
                  <a:gd name="T20" fmla="*/ 151 w 339"/>
                  <a:gd name="T21" fmla="*/ 278 h 301"/>
                  <a:gd name="T22" fmla="*/ 328 w 339"/>
                  <a:gd name="T23" fmla="*/ 35 h 301"/>
                  <a:gd name="T24" fmla="*/ 337 w 339"/>
                  <a:gd name="T25" fmla="*/ 14 h 301"/>
                  <a:gd name="T26" fmla="*/ 122 w 339"/>
                  <a:gd name="T27" fmla="*/ 237 h 301"/>
                  <a:gd name="T28" fmla="*/ 76 w 339"/>
                  <a:gd name="T29" fmla="*/ 222 h 301"/>
                  <a:gd name="T30" fmla="*/ 49 w 339"/>
                  <a:gd name="T31" fmla="*/ 227 h 301"/>
                  <a:gd name="T32" fmla="*/ 248 w 339"/>
                  <a:gd name="T33" fmla="*/ 43 h 301"/>
                  <a:gd name="T34" fmla="*/ 122 w 339"/>
                  <a:gd name="T35" fmla="*/ 237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9" h="301">
                    <a:moveTo>
                      <a:pt x="337" y="14"/>
                    </a:moveTo>
                    <a:cubicBezTo>
                      <a:pt x="335" y="6"/>
                      <a:pt x="328" y="0"/>
                      <a:pt x="320" y="0"/>
                    </a:cubicBezTo>
                    <a:cubicBezTo>
                      <a:pt x="306" y="0"/>
                      <a:pt x="306" y="0"/>
                      <a:pt x="306" y="0"/>
                    </a:cubicBezTo>
                    <a:cubicBezTo>
                      <a:pt x="147" y="0"/>
                      <a:pt x="16" y="121"/>
                      <a:pt x="1" y="282"/>
                    </a:cubicBezTo>
                    <a:cubicBezTo>
                      <a:pt x="0" y="291"/>
                      <a:pt x="7" y="299"/>
                      <a:pt x="16" y="301"/>
                    </a:cubicBezTo>
                    <a:cubicBezTo>
                      <a:pt x="17" y="301"/>
                      <a:pt x="18" y="301"/>
                      <a:pt x="19" y="301"/>
                    </a:cubicBezTo>
                    <a:cubicBezTo>
                      <a:pt x="27" y="301"/>
                      <a:pt x="34" y="296"/>
                      <a:pt x="36" y="288"/>
                    </a:cubicBezTo>
                    <a:cubicBezTo>
                      <a:pt x="41" y="268"/>
                      <a:pt x="55" y="258"/>
                      <a:pt x="76" y="258"/>
                    </a:cubicBezTo>
                    <a:cubicBezTo>
                      <a:pt x="97" y="258"/>
                      <a:pt x="106" y="267"/>
                      <a:pt x="119" y="286"/>
                    </a:cubicBezTo>
                    <a:cubicBezTo>
                      <a:pt x="123" y="292"/>
                      <a:pt x="130" y="295"/>
                      <a:pt x="138" y="294"/>
                    </a:cubicBezTo>
                    <a:cubicBezTo>
                      <a:pt x="145" y="292"/>
                      <a:pt x="151" y="286"/>
                      <a:pt x="151" y="278"/>
                    </a:cubicBezTo>
                    <a:cubicBezTo>
                      <a:pt x="165" y="173"/>
                      <a:pt x="229" y="84"/>
                      <a:pt x="328" y="35"/>
                    </a:cubicBezTo>
                    <a:cubicBezTo>
                      <a:pt x="335" y="31"/>
                      <a:pt x="339" y="22"/>
                      <a:pt x="337" y="14"/>
                    </a:cubicBezTo>
                    <a:close/>
                    <a:moveTo>
                      <a:pt x="122" y="237"/>
                    </a:moveTo>
                    <a:cubicBezTo>
                      <a:pt x="111" y="228"/>
                      <a:pt x="96" y="222"/>
                      <a:pt x="76" y="222"/>
                    </a:cubicBezTo>
                    <a:cubicBezTo>
                      <a:pt x="66" y="222"/>
                      <a:pt x="57" y="224"/>
                      <a:pt x="49" y="227"/>
                    </a:cubicBezTo>
                    <a:cubicBezTo>
                      <a:pt x="78" y="133"/>
                      <a:pt x="154" y="63"/>
                      <a:pt x="248" y="43"/>
                    </a:cubicBezTo>
                    <a:cubicBezTo>
                      <a:pt x="184" y="92"/>
                      <a:pt x="141" y="159"/>
                      <a:pt x="122" y="23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5875">
                <a:noFill/>
                <a:round/>
                <a:headEnd/>
                <a:tailEnd/>
              </a:ln>
              <a:extLst/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6"/>
              </a:p>
            </p:txBody>
          </p:sp>
          <p:sp>
            <p:nvSpPr>
              <p:cNvPr id="58" name="Line 93"/>
              <p:cNvSpPr>
                <a:spLocks noChangeShapeType="1"/>
              </p:cNvSpPr>
              <p:nvPr/>
            </p:nvSpPr>
            <p:spPr bwMode="auto">
              <a:xfrm>
                <a:off x="10310470" y="3960774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6"/>
              </a:p>
            </p:txBody>
          </p:sp>
          <p:sp>
            <p:nvSpPr>
              <p:cNvPr id="59" name="Line 94"/>
              <p:cNvSpPr>
                <a:spLocks noChangeShapeType="1"/>
              </p:cNvSpPr>
              <p:nvPr/>
            </p:nvSpPr>
            <p:spPr bwMode="auto">
              <a:xfrm>
                <a:off x="10310470" y="3960774"/>
                <a:ext cx="0" cy="0"/>
              </a:xfrm>
              <a:prstGeom prst="line">
                <a:avLst/>
              </a:prstGeom>
              <a:noFill/>
              <a:ln w="11113" cap="flat">
                <a:solidFill>
                  <a:srgbClr val="06C1E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6"/>
              </a:p>
            </p:txBody>
          </p:sp>
        </p:grpSp>
        <p:sp>
          <p:nvSpPr>
            <p:cNvPr id="51" name="Rectangle 50"/>
            <p:cNvSpPr/>
            <p:nvPr/>
          </p:nvSpPr>
          <p:spPr bwMode="auto">
            <a:xfrm>
              <a:off x="9439598" y="2830318"/>
              <a:ext cx="982662" cy="74922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9626" defTabSz="932114"/>
              <a:r>
                <a:rPr lang="en-US" sz="4000">
                  <a:solidFill>
                    <a:schemeClr val="tx1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6474333" y="1910167"/>
            <a:ext cx="2468880" cy="2468880"/>
            <a:chOff x="6230681" y="-411947"/>
            <a:chExt cx="2468880" cy="2468880"/>
          </a:xfrm>
        </p:grpSpPr>
        <p:sp>
          <p:nvSpPr>
            <p:cNvPr id="64" name="Oval 63"/>
            <p:cNvSpPr>
              <a:spLocks noChangeAspect="1"/>
            </p:cNvSpPr>
            <p:nvPr/>
          </p:nvSpPr>
          <p:spPr bwMode="auto">
            <a:xfrm>
              <a:off x="6230681" y="-411947"/>
              <a:ext cx="2468880" cy="2468880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28">
                <a:lnSpc>
                  <a:spcPct val="90000"/>
                </a:lnSpc>
              </a:pPr>
              <a:endParaRPr lang="en-US" sz="2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6780689" y="231164"/>
              <a:ext cx="1729152" cy="1290028"/>
              <a:chOff x="1672372" y="2612324"/>
              <a:chExt cx="1729152" cy="1290028"/>
            </a:xfrm>
          </p:grpSpPr>
          <p:grpSp>
            <p:nvGrpSpPr>
              <p:cNvPr id="67" name="Group 66"/>
              <p:cNvGrpSpPr/>
              <p:nvPr/>
            </p:nvGrpSpPr>
            <p:grpSpPr>
              <a:xfrm>
                <a:off x="2081887" y="3412499"/>
                <a:ext cx="744191" cy="489853"/>
                <a:chOff x="5386606" y="2477739"/>
                <a:chExt cx="4020698" cy="2646568"/>
              </a:xfrm>
            </p:grpSpPr>
            <p:sp>
              <p:nvSpPr>
                <p:cNvPr id="76" name="Rectangle 75"/>
                <p:cNvSpPr/>
                <p:nvPr/>
              </p:nvSpPr>
              <p:spPr bwMode="auto">
                <a:xfrm rot="13195832">
                  <a:off x="5386606" y="2477739"/>
                  <a:ext cx="3348825" cy="1051572"/>
                </a:xfrm>
                <a:prstGeom prst="rect">
                  <a:avLst/>
                </a:prstGeom>
                <a:noFill/>
                <a:ln w="19050">
                  <a:solidFill>
                    <a:schemeClr val="accent1">
                      <a:lumMod val="50000"/>
                      <a:lumOff val="50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77" name="Oval 76"/>
                <p:cNvSpPr/>
                <p:nvPr/>
              </p:nvSpPr>
              <p:spPr bwMode="auto">
                <a:xfrm rot="13195832" flipH="1">
                  <a:off x="7302195" y="3019198"/>
                  <a:ext cx="2105109" cy="2105109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1">
                      <a:lumMod val="50000"/>
                      <a:lumOff val="50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8" name="Group 77"/>
                <p:cNvGrpSpPr/>
                <p:nvPr/>
              </p:nvGrpSpPr>
              <p:grpSpPr>
                <a:xfrm rot="13195832" flipH="1">
                  <a:off x="7469019" y="3196927"/>
                  <a:ext cx="1754579" cy="1754580"/>
                  <a:chOff x="4960949" y="-1948160"/>
                  <a:chExt cx="6094506" cy="6094506"/>
                </a:xfrm>
                <a:solidFill>
                  <a:schemeClr val="bg1"/>
                </a:solidFill>
              </p:grpSpPr>
              <p:grpSp>
                <p:nvGrpSpPr>
                  <p:cNvPr id="92" name="Group 91"/>
                  <p:cNvGrpSpPr/>
                  <p:nvPr/>
                </p:nvGrpSpPr>
                <p:grpSpPr>
                  <a:xfrm>
                    <a:off x="4960949" y="-1948160"/>
                    <a:ext cx="6094506" cy="6094506"/>
                    <a:chOff x="1617736" y="1506812"/>
                    <a:chExt cx="6094506" cy="6094506"/>
                  </a:xfrm>
                  <a:grpFill/>
                </p:grpSpPr>
                <p:grpSp>
                  <p:nvGrpSpPr>
                    <p:cNvPr id="107" name="Group 106"/>
                    <p:cNvGrpSpPr/>
                    <p:nvPr/>
                  </p:nvGrpSpPr>
                  <p:grpSpPr>
                    <a:xfrm>
                      <a:off x="4329559" y="1506812"/>
                      <a:ext cx="670859" cy="6094506"/>
                      <a:chOff x="6764185" y="1829778"/>
                      <a:chExt cx="670859" cy="6094506"/>
                    </a:xfrm>
                    <a:grpFill/>
                  </p:grpSpPr>
                  <p:sp>
                    <p:nvSpPr>
                      <p:cNvPr id="111" name="Oval 110"/>
                      <p:cNvSpPr/>
                      <p:nvPr/>
                    </p:nvSpPr>
                    <p:spPr bwMode="auto">
                      <a:xfrm>
                        <a:off x="6764185" y="1829778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12" name="Oval 111"/>
                      <p:cNvSpPr/>
                      <p:nvPr/>
                    </p:nvSpPr>
                    <p:spPr bwMode="auto">
                      <a:xfrm>
                        <a:off x="6764185" y="7253425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grpSp>
                  <p:nvGrpSpPr>
                    <p:cNvPr id="108" name="Group 107"/>
                    <p:cNvGrpSpPr/>
                    <p:nvPr/>
                  </p:nvGrpSpPr>
                  <p:grpSpPr>
                    <a:xfrm rot="5400000">
                      <a:off x="4329559" y="1506812"/>
                      <a:ext cx="670859" cy="6094506"/>
                      <a:chOff x="6764185" y="1829778"/>
                      <a:chExt cx="670859" cy="6094506"/>
                    </a:xfrm>
                    <a:grpFill/>
                  </p:grpSpPr>
                  <p:sp>
                    <p:nvSpPr>
                      <p:cNvPr id="109" name="Oval 108"/>
                      <p:cNvSpPr/>
                      <p:nvPr/>
                    </p:nvSpPr>
                    <p:spPr bwMode="auto">
                      <a:xfrm>
                        <a:off x="6764185" y="1829778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10" name="Oval 109"/>
                      <p:cNvSpPr/>
                      <p:nvPr/>
                    </p:nvSpPr>
                    <p:spPr bwMode="auto">
                      <a:xfrm>
                        <a:off x="6764185" y="7253425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93" name="Group 92"/>
                  <p:cNvGrpSpPr/>
                  <p:nvPr/>
                </p:nvGrpSpPr>
                <p:grpSpPr>
                  <a:xfrm rot="1800000">
                    <a:off x="4960949" y="-1948160"/>
                    <a:ext cx="6094506" cy="6094506"/>
                    <a:chOff x="1617736" y="1506812"/>
                    <a:chExt cx="6094506" cy="6094506"/>
                  </a:xfrm>
                  <a:grpFill/>
                </p:grpSpPr>
                <p:grpSp>
                  <p:nvGrpSpPr>
                    <p:cNvPr id="101" name="Group 100"/>
                    <p:cNvGrpSpPr/>
                    <p:nvPr/>
                  </p:nvGrpSpPr>
                  <p:grpSpPr>
                    <a:xfrm>
                      <a:off x="4329559" y="1506812"/>
                      <a:ext cx="670859" cy="6094506"/>
                      <a:chOff x="6764185" y="1829778"/>
                      <a:chExt cx="670859" cy="6094506"/>
                    </a:xfrm>
                    <a:grpFill/>
                  </p:grpSpPr>
                  <p:sp>
                    <p:nvSpPr>
                      <p:cNvPr id="105" name="Oval 104"/>
                      <p:cNvSpPr/>
                      <p:nvPr/>
                    </p:nvSpPr>
                    <p:spPr bwMode="auto">
                      <a:xfrm>
                        <a:off x="6764185" y="1829778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06" name="Oval 105"/>
                      <p:cNvSpPr/>
                      <p:nvPr/>
                    </p:nvSpPr>
                    <p:spPr bwMode="auto">
                      <a:xfrm>
                        <a:off x="6764185" y="7253425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grpSp>
                  <p:nvGrpSpPr>
                    <p:cNvPr id="102" name="Group 101"/>
                    <p:cNvGrpSpPr/>
                    <p:nvPr/>
                  </p:nvGrpSpPr>
                  <p:grpSpPr>
                    <a:xfrm rot="5400000">
                      <a:off x="4329559" y="1506812"/>
                      <a:ext cx="670859" cy="6094506"/>
                      <a:chOff x="6764185" y="1829778"/>
                      <a:chExt cx="670859" cy="6094506"/>
                    </a:xfrm>
                    <a:grpFill/>
                  </p:grpSpPr>
                  <p:sp>
                    <p:nvSpPr>
                      <p:cNvPr id="103" name="Oval 102"/>
                      <p:cNvSpPr/>
                      <p:nvPr/>
                    </p:nvSpPr>
                    <p:spPr bwMode="auto">
                      <a:xfrm>
                        <a:off x="6764185" y="1829778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04" name="Oval 103"/>
                      <p:cNvSpPr/>
                      <p:nvPr/>
                    </p:nvSpPr>
                    <p:spPr bwMode="auto">
                      <a:xfrm>
                        <a:off x="6764185" y="7253425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94" name="Group 93"/>
                  <p:cNvGrpSpPr/>
                  <p:nvPr/>
                </p:nvGrpSpPr>
                <p:grpSpPr>
                  <a:xfrm rot="3600000">
                    <a:off x="4960949" y="-1948160"/>
                    <a:ext cx="6094506" cy="6094506"/>
                    <a:chOff x="1617736" y="1506812"/>
                    <a:chExt cx="6094506" cy="6094506"/>
                  </a:xfrm>
                  <a:grpFill/>
                </p:grpSpPr>
                <p:grpSp>
                  <p:nvGrpSpPr>
                    <p:cNvPr id="95" name="Group 94"/>
                    <p:cNvGrpSpPr/>
                    <p:nvPr/>
                  </p:nvGrpSpPr>
                  <p:grpSpPr>
                    <a:xfrm>
                      <a:off x="4329559" y="1506812"/>
                      <a:ext cx="670859" cy="6094506"/>
                      <a:chOff x="6764185" y="1829778"/>
                      <a:chExt cx="670859" cy="6094506"/>
                    </a:xfrm>
                    <a:grpFill/>
                  </p:grpSpPr>
                  <p:sp>
                    <p:nvSpPr>
                      <p:cNvPr id="99" name="Oval 98"/>
                      <p:cNvSpPr/>
                      <p:nvPr/>
                    </p:nvSpPr>
                    <p:spPr bwMode="auto">
                      <a:xfrm>
                        <a:off x="6764185" y="1829778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00" name="Oval 99"/>
                      <p:cNvSpPr/>
                      <p:nvPr/>
                    </p:nvSpPr>
                    <p:spPr bwMode="auto">
                      <a:xfrm>
                        <a:off x="6764185" y="7253425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grpSp>
                  <p:nvGrpSpPr>
                    <p:cNvPr id="96" name="Group 95"/>
                    <p:cNvGrpSpPr/>
                    <p:nvPr/>
                  </p:nvGrpSpPr>
                  <p:grpSpPr>
                    <a:xfrm rot="5400000">
                      <a:off x="4329559" y="1506812"/>
                      <a:ext cx="670859" cy="6094506"/>
                      <a:chOff x="6764185" y="1829778"/>
                      <a:chExt cx="670859" cy="6094506"/>
                    </a:xfrm>
                    <a:grpFill/>
                  </p:grpSpPr>
                  <p:sp>
                    <p:nvSpPr>
                      <p:cNvPr id="97" name="Oval 96"/>
                      <p:cNvSpPr/>
                      <p:nvPr/>
                    </p:nvSpPr>
                    <p:spPr bwMode="auto">
                      <a:xfrm>
                        <a:off x="6764185" y="1829778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98" name="Oval 97"/>
                      <p:cNvSpPr/>
                      <p:nvPr/>
                    </p:nvSpPr>
                    <p:spPr bwMode="auto">
                      <a:xfrm>
                        <a:off x="6764185" y="7253425"/>
                        <a:ext cx="670859" cy="670859"/>
                      </a:xfrm>
                      <a:prstGeom prst="ellipse">
                        <a:avLst/>
                      </a:prstGeom>
                      <a:grpFill/>
                      <a:ln w="19050">
                        <a:solidFill>
                          <a:schemeClr val="accent1">
                            <a:lumMod val="50000"/>
                            <a:lumOff val="50000"/>
                          </a:schemeClr>
                        </a:solidFill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472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79" name="Group 78"/>
                <p:cNvGrpSpPr/>
                <p:nvPr/>
              </p:nvGrpSpPr>
              <p:grpSpPr>
                <a:xfrm rot="13195832" flipH="1">
                  <a:off x="7888633" y="3616540"/>
                  <a:ext cx="915353" cy="915353"/>
                  <a:chOff x="15721982" y="-2607479"/>
                  <a:chExt cx="3179460" cy="3179460"/>
                </a:xfrm>
                <a:solidFill>
                  <a:schemeClr val="bg1"/>
                </a:solidFill>
              </p:grpSpPr>
              <p:grpSp>
                <p:nvGrpSpPr>
                  <p:cNvPr id="80" name="Group 79"/>
                  <p:cNvGrpSpPr/>
                  <p:nvPr/>
                </p:nvGrpSpPr>
                <p:grpSpPr>
                  <a:xfrm>
                    <a:off x="16976282" y="-2607479"/>
                    <a:ext cx="670859" cy="3179460"/>
                    <a:chOff x="6764185" y="4744824"/>
                    <a:chExt cx="670859" cy="3179460"/>
                  </a:xfrm>
                  <a:grpFill/>
                </p:grpSpPr>
                <p:sp>
                  <p:nvSpPr>
                    <p:cNvPr id="90" name="Oval 89"/>
                    <p:cNvSpPr/>
                    <p:nvPr/>
                  </p:nvSpPr>
                  <p:spPr bwMode="auto">
                    <a:xfrm>
                      <a:off x="6764185" y="4744824"/>
                      <a:ext cx="670859" cy="670859"/>
                    </a:xfrm>
                    <a:prstGeom prst="ellipse">
                      <a:avLst/>
                    </a:prstGeom>
                    <a:grpFill/>
                    <a:ln w="19050">
                      <a:solidFill>
                        <a:schemeClr val="accent1">
                          <a:lumMod val="50000"/>
                          <a:lumOff val="50000"/>
                        </a:schemeClr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91" name="Oval 90"/>
                    <p:cNvSpPr/>
                    <p:nvPr/>
                  </p:nvSpPr>
                  <p:spPr bwMode="auto">
                    <a:xfrm>
                      <a:off x="6764185" y="7253425"/>
                      <a:ext cx="670859" cy="670859"/>
                    </a:xfrm>
                    <a:prstGeom prst="ellipse">
                      <a:avLst/>
                    </a:prstGeom>
                    <a:grpFill/>
                    <a:ln w="19050">
                      <a:solidFill>
                        <a:schemeClr val="accent1">
                          <a:lumMod val="50000"/>
                          <a:lumOff val="50000"/>
                        </a:schemeClr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81" name="Group 80"/>
                  <p:cNvGrpSpPr/>
                  <p:nvPr/>
                </p:nvGrpSpPr>
                <p:grpSpPr>
                  <a:xfrm rot="2700000">
                    <a:off x="16976282" y="-2607479"/>
                    <a:ext cx="670859" cy="3179460"/>
                    <a:chOff x="6764185" y="4744824"/>
                    <a:chExt cx="670859" cy="3179460"/>
                  </a:xfrm>
                  <a:grpFill/>
                </p:grpSpPr>
                <p:sp>
                  <p:nvSpPr>
                    <p:cNvPr id="88" name="Oval 87"/>
                    <p:cNvSpPr/>
                    <p:nvPr/>
                  </p:nvSpPr>
                  <p:spPr bwMode="auto">
                    <a:xfrm>
                      <a:off x="6764185" y="4744824"/>
                      <a:ext cx="670859" cy="670859"/>
                    </a:xfrm>
                    <a:prstGeom prst="ellipse">
                      <a:avLst/>
                    </a:prstGeom>
                    <a:grpFill/>
                    <a:ln w="19050">
                      <a:solidFill>
                        <a:schemeClr val="accent1">
                          <a:lumMod val="50000"/>
                          <a:lumOff val="50000"/>
                        </a:schemeClr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89" name="Oval 88"/>
                    <p:cNvSpPr/>
                    <p:nvPr/>
                  </p:nvSpPr>
                  <p:spPr bwMode="auto">
                    <a:xfrm>
                      <a:off x="6764185" y="7253425"/>
                      <a:ext cx="670859" cy="670859"/>
                    </a:xfrm>
                    <a:prstGeom prst="ellipse">
                      <a:avLst/>
                    </a:prstGeom>
                    <a:grpFill/>
                    <a:ln w="19050">
                      <a:solidFill>
                        <a:schemeClr val="accent1">
                          <a:lumMod val="50000"/>
                          <a:lumOff val="50000"/>
                        </a:schemeClr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82" name="Group 81"/>
                  <p:cNvGrpSpPr/>
                  <p:nvPr/>
                </p:nvGrpSpPr>
                <p:grpSpPr>
                  <a:xfrm rot="5400000">
                    <a:off x="16976282" y="-2607479"/>
                    <a:ext cx="670859" cy="3179460"/>
                    <a:chOff x="6764185" y="4744824"/>
                    <a:chExt cx="670859" cy="3179460"/>
                  </a:xfrm>
                  <a:grpFill/>
                </p:grpSpPr>
                <p:sp>
                  <p:nvSpPr>
                    <p:cNvPr id="86" name="Oval 85"/>
                    <p:cNvSpPr/>
                    <p:nvPr/>
                  </p:nvSpPr>
                  <p:spPr bwMode="auto">
                    <a:xfrm>
                      <a:off x="6764185" y="4744824"/>
                      <a:ext cx="670859" cy="670859"/>
                    </a:xfrm>
                    <a:prstGeom prst="ellipse">
                      <a:avLst/>
                    </a:prstGeom>
                    <a:grpFill/>
                    <a:ln w="19050">
                      <a:solidFill>
                        <a:schemeClr val="accent1">
                          <a:lumMod val="50000"/>
                          <a:lumOff val="50000"/>
                        </a:schemeClr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87" name="Oval 86"/>
                    <p:cNvSpPr/>
                    <p:nvPr/>
                  </p:nvSpPr>
                  <p:spPr bwMode="auto">
                    <a:xfrm>
                      <a:off x="6764185" y="7253425"/>
                      <a:ext cx="670859" cy="670859"/>
                    </a:xfrm>
                    <a:prstGeom prst="ellipse">
                      <a:avLst/>
                    </a:prstGeom>
                    <a:grpFill/>
                    <a:ln w="19050">
                      <a:solidFill>
                        <a:schemeClr val="accent1">
                          <a:lumMod val="50000"/>
                          <a:lumOff val="50000"/>
                        </a:schemeClr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83" name="Group 82"/>
                  <p:cNvGrpSpPr/>
                  <p:nvPr/>
                </p:nvGrpSpPr>
                <p:grpSpPr>
                  <a:xfrm rot="8100000">
                    <a:off x="16976282" y="-2607479"/>
                    <a:ext cx="670859" cy="3179460"/>
                    <a:chOff x="6764185" y="4744824"/>
                    <a:chExt cx="670859" cy="3179460"/>
                  </a:xfrm>
                  <a:grpFill/>
                </p:grpSpPr>
                <p:sp>
                  <p:nvSpPr>
                    <p:cNvPr id="84" name="Oval 83"/>
                    <p:cNvSpPr/>
                    <p:nvPr/>
                  </p:nvSpPr>
                  <p:spPr bwMode="auto">
                    <a:xfrm>
                      <a:off x="6764185" y="4744824"/>
                      <a:ext cx="670859" cy="670859"/>
                    </a:xfrm>
                    <a:prstGeom prst="ellipse">
                      <a:avLst/>
                    </a:prstGeom>
                    <a:grpFill/>
                    <a:ln w="19050">
                      <a:solidFill>
                        <a:schemeClr val="accent1">
                          <a:lumMod val="50000"/>
                          <a:lumOff val="50000"/>
                        </a:schemeClr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85" name="Oval 84"/>
                    <p:cNvSpPr/>
                    <p:nvPr/>
                  </p:nvSpPr>
                  <p:spPr bwMode="auto">
                    <a:xfrm>
                      <a:off x="6764185" y="7253425"/>
                      <a:ext cx="670859" cy="670859"/>
                    </a:xfrm>
                    <a:prstGeom prst="ellipse">
                      <a:avLst/>
                    </a:prstGeom>
                    <a:grpFill/>
                    <a:ln w="19050">
                      <a:solidFill>
                        <a:schemeClr val="accent1">
                          <a:lumMod val="50000"/>
                          <a:lumOff val="50000"/>
                        </a:schemeClr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</p:grpSp>
          <p:grpSp>
            <p:nvGrpSpPr>
              <p:cNvPr id="68" name="Group 67"/>
              <p:cNvGrpSpPr/>
              <p:nvPr/>
            </p:nvGrpSpPr>
            <p:grpSpPr>
              <a:xfrm>
                <a:off x="1672372" y="2612324"/>
                <a:ext cx="1729152" cy="1255420"/>
                <a:chOff x="1657126" y="2627734"/>
                <a:chExt cx="1729152" cy="1255420"/>
              </a:xfrm>
            </p:grpSpPr>
            <p:sp>
              <p:nvSpPr>
                <p:cNvPr id="69" name="Freeform 5"/>
                <p:cNvSpPr>
                  <a:spLocks/>
                </p:cNvSpPr>
                <p:nvPr/>
              </p:nvSpPr>
              <p:spPr bwMode="auto">
                <a:xfrm rot="3938007" flipH="1">
                  <a:off x="2443165" y="2620313"/>
                  <a:ext cx="547740" cy="775982"/>
                </a:xfrm>
                <a:custGeom>
                  <a:avLst/>
                  <a:gdLst>
                    <a:gd name="T0" fmla="*/ 0 w 180"/>
                    <a:gd name="T1" fmla="*/ 89 h 236"/>
                    <a:gd name="T2" fmla="*/ 90 w 180"/>
                    <a:gd name="T3" fmla="*/ 0 h 236"/>
                    <a:gd name="T4" fmla="*/ 180 w 180"/>
                    <a:gd name="T5" fmla="*/ 89 h 236"/>
                    <a:gd name="T6" fmla="*/ 90 w 180"/>
                    <a:gd name="T7" fmla="*/ 179 h 236"/>
                    <a:gd name="T8" fmla="*/ 56 w 180"/>
                    <a:gd name="T9" fmla="*/ 172 h 236"/>
                    <a:gd name="T10" fmla="*/ 0 w 180"/>
                    <a:gd name="T11" fmla="*/ 236 h 236"/>
                    <a:gd name="T12" fmla="*/ 0 w 180"/>
                    <a:gd name="T13" fmla="*/ 89 h 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0" h="236">
                      <a:moveTo>
                        <a:pt x="0" y="89"/>
                      </a:moveTo>
                      <a:cubicBezTo>
                        <a:pt x="0" y="40"/>
                        <a:pt x="41" y="0"/>
                        <a:pt x="90" y="0"/>
                      </a:cubicBezTo>
                      <a:cubicBezTo>
                        <a:pt x="140" y="0"/>
                        <a:pt x="180" y="40"/>
                        <a:pt x="180" y="89"/>
                      </a:cubicBezTo>
                      <a:cubicBezTo>
                        <a:pt x="180" y="139"/>
                        <a:pt x="140" y="179"/>
                        <a:pt x="90" y="179"/>
                      </a:cubicBezTo>
                      <a:cubicBezTo>
                        <a:pt x="78" y="179"/>
                        <a:pt x="66" y="177"/>
                        <a:pt x="56" y="172"/>
                      </a:cubicBezTo>
                      <a:cubicBezTo>
                        <a:pt x="0" y="236"/>
                        <a:pt x="0" y="236"/>
                        <a:pt x="0" y="236"/>
                      </a:cubicBezTo>
                      <a:lnTo>
                        <a:pt x="0" y="8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5400">
                  <a:solidFill>
                    <a:schemeClr val="tx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70" name="Group 69"/>
                <p:cNvGrpSpPr/>
                <p:nvPr/>
              </p:nvGrpSpPr>
              <p:grpSpPr>
                <a:xfrm>
                  <a:off x="1657126" y="2627734"/>
                  <a:ext cx="715009" cy="1255420"/>
                  <a:chOff x="1549118" y="2647619"/>
                  <a:chExt cx="715009" cy="1255420"/>
                </a:xfrm>
              </p:grpSpPr>
              <p:sp>
                <p:nvSpPr>
                  <p:cNvPr id="72" name="Freeform 447"/>
                  <p:cNvSpPr>
                    <a:spLocks/>
                  </p:cNvSpPr>
                  <p:nvPr/>
                </p:nvSpPr>
                <p:spPr bwMode="auto">
                  <a:xfrm>
                    <a:off x="1549119" y="2652607"/>
                    <a:ext cx="715008" cy="1250432"/>
                  </a:xfrm>
                  <a:custGeom>
                    <a:avLst/>
                    <a:gdLst>
                      <a:gd name="T0" fmla="*/ 912 w 913"/>
                      <a:gd name="T1" fmla="*/ 429 h 1599"/>
                      <a:gd name="T2" fmla="*/ 456 w 913"/>
                      <a:gd name="T3" fmla="*/ 0 h 1599"/>
                      <a:gd name="T4" fmla="*/ 0 w 913"/>
                      <a:gd name="T5" fmla="*/ 457 h 1599"/>
                      <a:gd name="T6" fmla="*/ 0 w 913"/>
                      <a:gd name="T7" fmla="*/ 1599 h 1599"/>
                      <a:gd name="T8" fmla="*/ 808 w 913"/>
                      <a:gd name="T9" fmla="*/ 1599 h 1599"/>
                      <a:gd name="T10" fmla="*/ 799 w 913"/>
                      <a:gd name="T11" fmla="*/ 999 h 1599"/>
                      <a:gd name="T12" fmla="*/ 913 w 913"/>
                      <a:gd name="T13" fmla="*/ 999 h 1599"/>
                      <a:gd name="T14" fmla="*/ 913 w 913"/>
                      <a:gd name="T15" fmla="*/ 429 h 1599"/>
                      <a:gd name="T16" fmla="*/ 912 w 913"/>
                      <a:gd name="T17" fmla="*/ 429 h 15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13" h="1599">
                        <a:moveTo>
                          <a:pt x="912" y="429"/>
                        </a:moveTo>
                        <a:cubicBezTo>
                          <a:pt x="897" y="190"/>
                          <a:pt x="699" y="0"/>
                          <a:pt x="456" y="0"/>
                        </a:cubicBezTo>
                        <a:cubicBezTo>
                          <a:pt x="204" y="0"/>
                          <a:pt x="0" y="205"/>
                          <a:pt x="0" y="457"/>
                        </a:cubicBezTo>
                        <a:cubicBezTo>
                          <a:pt x="0" y="1599"/>
                          <a:pt x="0" y="1599"/>
                          <a:pt x="0" y="1599"/>
                        </a:cubicBezTo>
                        <a:cubicBezTo>
                          <a:pt x="808" y="1599"/>
                          <a:pt x="808" y="1599"/>
                          <a:pt x="808" y="1599"/>
                        </a:cubicBezTo>
                        <a:cubicBezTo>
                          <a:pt x="799" y="999"/>
                          <a:pt x="799" y="999"/>
                          <a:pt x="799" y="999"/>
                        </a:cubicBezTo>
                        <a:cubicBezTo>
                          <a:pt x="913" y="999"/>
                          <a:pt x="913" y="999"/>
                          <a:pt x="913" y="999"/>
                        </a:cubicBezTo>
                        <a:cubicBezTo>
                          <a:pt x="913" y="429"/>
                          <a:pt x="913" y="429"/>
                          <a:pt x="913" y="429"/>
                        </a:cubicBezTo>
                        <a:cubicBezTo>
                          <a:pt x="912" y="429"/>
                          <a:pt x="912" y="429"/>
                          <a:pt x="912" y="429"/>
                        </a:cubicBezTo>
                      </a:path>
                    </a:pathLst>
                  </a:custGeom>
                  <a:solidFill>
                    <a:schemeClr val="bg1"/>
                  </a:solidFill>
                  <a:ln w="25400">
                    <a:solidFill>
                      <a:schemeClr val="accent2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3" name="Freeform 448"/>
                  <p:cNvSpPr>
                    <a:spLocks/>
                  </p:cNvSpPr>
                  <p:nvPr/>
                </p:nvSpPr>
                <p:spPr bwMode="auto">
                  <a:xfrm>
                    <a:off x="1549118" y="2647619"/>
                    <a:ext cx="715008" cy="966092"/>
                  </a:xfrm>
                  <a:custGeom>
                    <a:avLst/>
                    <a:gdLst>
                      <a:gd name="connsiteX0" fmla="*/ 358290 w 715008"/>
                      <a:gd name="connsiteY0" fmla="*/ 0 h 966092"/>
                      <a:gd name="connsiteX1" fmla="*/ 715008 w 715008"/>
                      <a:gd name="connsiteY1" fmla="*/ 316442 h 966092"/>
                      <a:gd name="connsiteX2" fmla="*/ 313504 w 715008"/>
                      <a:gd name="connsiteY2" fmla="*/ 493115 h 966092"/>
                      <a:gd name="connsiteX3" fmla="*/ 268717 w 715008"/>
                      <a:gd name="connsiteY3" fmla="*/ 582630 h 966092"/>
                      <a:gd name="connsiteX4" fmla="*/ 267713 w 715008"/>
                      <a:gd name="connsiteY4" fmla="*/ 583094 h 966092"/>
                      <a:gd name="connsiteX5" fmla="*/ 267713 w 715008"/>
                      <a:gd name="connsiteY5" fmla="*/ 612982 h 966092"/>
                      <a:gd name="connsiteX6" fmla="*/ 267713 w 715008"/>
                      <a:gd name="connsiteY6" fmla="*/ 742052 h 966092"/>
                      <a:gd name="connsiteX7" fmla="*/ 0 w 715008"/>
                      <a:gd name="connsiteY7" fmla="*/ 966092 h 966092"/>
                      <a:gd name="connsiteX8" fmla="*/ 0 w 715008"/>
                      <a:gd name="connsiteY8" fmla="*/ 740434 h 966092"/>
                      <a:gd name="connsiteX9" fmla="*/ 0 w 715008"/>
                      <a:gd name="connsiteY9" fmla="*/ 706694 h 966092"/>
                      <a:gd name="connsiteX10" fmla="*/ 0 w 715008"/>
                      <a:gd name="connsiteY10" fmla="*/ 701259 h 966092"/>
                      <a:gd name="connsiteX11" fmla="*/ 0 w 715008"/>
                      <a:gd name="connsiteY11" fmla="*/ 688350 h 966092"/>
                      <a:gd name="connsiteX12" fmla="*/ 0 w 715008"/>
                      <a:gd name="connsiteY12" fmla="*/ 663213 h 966092"/>
                      <a:gd name="connsiteX13" fmla="*/ 0 w 715008"/>
                      <a:gd name="connsiteY13" fmla="*/ 629249 h 966092"/>
                      <a:gd name="connsiteX14" fmla="*/ 0 w 715008"/>
                      <a:gd name="connsiteY14" fmla="*/ 621770 h 966092"/>
                      <a:gd name="connsiteX15" fmla="*/ 0 w 715008"/>
                      <a:gd name="connsiteY15" fmla="*/ 358843 h 966092"/>
                      <a:gd name="connsiteX16" fmla="*/ 358290 w 715008"/>
                      <a:gd name="connsiteY16" fmla="*/ 0 h 9660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715008" h="966092">
                        <a:moveTo>
                          <a:pt x="358290" y="0"/>
                        </a:moveTo>
                        <a:cubicBezTo>
                          <a:pt x="542149" y="0"/>
                          <a:pt x="693794" y="138198"/>
                          <a:pt x="715008" y="316442"/>
                        </a:cubicBezTo>
                        <a:cubicBezTo>
                          <a:pt x="692222" y="337643"/>
                          <a:pt x="522506" y="493115"/>
                          <a:pt x="313504" y="493115"/>
                        </a:cubicBezTo>
                        <a:cubicBezTo>
                          <a:pt x="313504" y="493115"/>
                          <a:pt x="291503" y="560644"/>
                          <a:pt x="268717" y="582630"/>
                        </a:cubicBezTo>
                        <a:lnTo>
                          <a:pt x="267713" y="583094"/>
                        </a:lnTo>
                        <a:lnTo>
                          <a:pt x="267713" y="612982"/>
                        </a:lnTo>
                        <a:cubicBezTo>
                          <a:pt x="267713" y="644378"/>
                          <a:pt x="267713" y="686238"/>
                          <a:pt x="267713" y="742052"/>
                        </a:cubicBezTo>
                        <a:cubicBezTo>
                          <a:pt x="267713" y="742052"/>
                          <a:pt x="245012" y="920658"/>
                          <a:pt x="0" y="966092"/>
                        </a:cubicBezTo>
                        <a:cubicBezTo>
                          <a:pt x="0" y="966092"/>
                          <a:pt x="0" y="966092"/>
                          <a:pt x="0" y="740434"/>
                        </a:cubicBezTo>
                        <a:lnTo>
                          <a:pt x="0" y="706694"/>
                        </a:lnTo>
                        <a:lnTo>
                          <a:pt x="0" y="701259"/>
                        </a:lnTo>
                        <a:lnTo>
                          <a:pt x="0" y="688350"/>
                        </a:lnTo>
                        <a:lnTo>
                          <a:pt x="0" y="663213"/>
                        </a:lnTo>
                        <a:lnTo>
                          <a:pt x="0" y="629249"/>
                        </a:lnTo>
                        <a:lnTo>
                          <a:pt x="0" y="621770"/>
                        </a:lnTo>
                        <a:cubicBezTo>
                          <a:pt x="0" y="570815"/>
                          <a:pt x="0" y="489287"/>
                          <a:pt x="0" y="358843"/>
                        </a:cubicBezTo>
                        <a:cubicBezTo>
                          <a:pt x="0" y="160969"/>
                          <a:pt x="160288" y="0"/>
                          <a:pt x="358290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25400">
                    <a:solidFill>
                      <a:schemeClr val="accent5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4" name="Freeform 35"/>
                  <p:cNvSpPr>
                    <a:spLocks/>
                  </p:cNvSpPr>
                  <p:nvPr/>
                </p:nvSpPr>
                <p:spPr bwMode="auto">
                  <a:xfrm>
                    <a:off x="1672167" y="3231264"/>
                    <a:ext cx="146327" cy="292654"/>
                  </a:xfrm>
                  <a:custGeom>
                    <a:avLst/>
                    <a:gdLst>
                      <a:gd name="T0" fmla="*/ 187 w 187"/>
                      <a:gd name="T1" fmla="*/ 0 h 373"/>
                      <a:gd name="T2" fmla="*/ 0 w 187"/>
                      <a:gd name="T3" fmla="*/ 186 h 373"/>
                      <a:gd name="T4" fmla="*/ 187 w 187"/>
                      <a:gd name="T5" fmla="*/ 373 h 373"/>
                      <a:gd name="T6" fmla="*/ 187 w 187"/>
                      <a:gd name="T7" fmla="*/ 0 h 3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87" h="373">
                        <a:moveTo>
                          <a:pt x="187" y="0"/>
                        </a:moveTo>
                        <a:cubicBezTo>
                          <a:pt x="84" y="0"/>
                          <a:pt x="0" y="83"/>
                          <a:pt x="0" y="186"/>
                        </a:cubicBezTo>
                        <a:cubicBezTo>
                          <a:pt x="0" y="289"/>
                          <a:pt x="84" y="373"/>
                          <a:pt x="187" y="373"/>
                        </a:cubicBezTo>
                        <a:cubicBezTo>
                          <a:pt x="187" y="0"/>
                          <a:pt x="187" y="0"/>
                          <a:pt x="187" y="0"/>
                        </a:cubicBezTo>
                      </a:path>
                    </a:pathLst>
                  </a:custGeom>
                  <a:solidFill>
                    <a:schemeClr val="bg1"/>
                  </a:solidFill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5" name="Oval 38"/>
                  <p:cNvSpPr>
                    <a:spLocks noChangeArrowheads="1"/>
                  </p:cNvSpPr>
                  <p:nvPr/>
                </p:nvSpPr>
                <p:spPr bwMode="auto">
                  <a:xfrm>
                    <a:off x="2051312" y="3211311"/>
                    <a:ext cx="78130" cy="78129"/>
                  </a:xfrm>
                  <a:prstGeom prst="ellipse">
                    <a:avLst/>
                  </a:prstGeom>
                  <a:solidFill>
                    <a:schemeClr val="tx1"/>
                  </a:solidFill>
                  <a:ln w="25400">
                    <a:noFill/>
                    <a:round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71" name="Rectangle 70"/>
                <p:cNvSpPr/>
                <p:nvPr/>
              </p:nvSpPr>
              <p:spPr bwMode="auto">
                <a:xfrm>
                  <a:off x="2403616" y="2653143"/>
                  <a:ext cx="982662" cy="749229"/>
                </a:xfrm>
                <a:prstGeom prst="rect">
                  <a:avLst/>
                </a:prstGeom>
                <a:no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39626" defTabSz="932114"/>
                  <a:r>
                    <a:rPr lang="en-US" sz="2400">
                      <a:solidFill>
                        <a:schemeClr val="tx1"/>
                      </a:solidFill>
                      <a:latin typeface="Segoe UI Black" panose="020B0A02040204020203" pitchFamily="34" charset="0"/>
                      <a:ea typeface="Segoe UI Black" panose="020B0A02040204020203" pitchFamily="34" charset="0"/>
                      <a:cs typeface="Segoe UI Black" panose="020B0A02040204020203" pitchFamily="34" charset="0"/>
                    </a:rPr>
                    <a:t>?</a:t>
                  </a:r>
                </a:p>
              </p:txBody>
            </p:sp>
          </p:grpSp>
        </p:grpSp>
        <p:cxnSp>
          <p:nvCxnSpPr>
            <p:cNvPr id="66" name="Straight Connector 65"/>
            <p:cNvCxnSpPr>
              <a:stCxn id="64" idx="7"/>
              <a:endCxn id="64" idx="3"/>
            </p:cNvCxnSpPr>
            <p:nvPr/>
          </p:nvCxnSpPr>
          <p:spPr>
            <a:xfrm flipH="1">
              <a:off x="6592240" y="-50388"/>
              <a:ext cx="1745762" cy="1745762"/>
            </a:xfrm>
            <a:prstGeom prst="line">
              <a:avLst/>
            </a:prstGeom>
            <a:ln w="28575">
              <a:solidFill>
                <a:schemeClr val="accent1">
                  <a:lumMod val="50000"/>
                  <a:lumOff val="5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3" name="Rectangle 112"/>
          <p:cNvSpPr/>
          <p:nvPr/>
        </p:nvSpPr>
        <p:spPr bwMode="auto">
          <a:xfrm>
            <a:off x="6330569" y="4496693"/>
            <a:ext cx="2579909" cy="206918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626" algn="ctr" defTabSz="932114">
              <a:lnSpc>
                <a:spcPct val="90000"/>
              </a:lnSpc>
            </a:pPr>
            <a:r>
              <a:rPr lang="en-US" sz="28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  <a:t>Lack of Commercial Support</a:t>
            </a:r>
          </a:p>
        </p:txBody>
      </p:sp>
      <p:sp>
        <p:nvSpPr>
          <p:cNvPr id="114" name="Rectangle 113"/>
          <p:cNvSpPr/>
          <p:nvPr/>
        </p:nvSpPr>
        <p:spPr bwMode="auto">
          <a:xfrm>
            <a:off x="3431431" y="4498894"/>
            <a:ext cx="2592306" cy="206478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626" algn="ctr" defTabSz="932114">
              <a:lnSpc>
                <a:spcPct val="90000"/>
              </a:lnSpc>
            </a:pPr>
            <a:r>
              <a:rPr lang="en-US" sz="28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  <a:t>Inadequate</a:t>
            </a:r>
          </a:p>
          <a:p>
            <a:pPr marL="239626" algn="ctr" defTabSz="932114">
              <a:lnSpc>
                <a:spcPct val="90000"/>
              </a:lnSpc>
            </a:pPr>
            <a:r>
              <a:rPr lang="en-US" sz="28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  <a:t>Modeling  Performance</a:t>
            </a:r>
          </a:p>
        </p:txBody>
      </p:sp>
      <p:sp>
        <p:nvSpPr>
          <p:cNvPr id="115" name="Rectangle 114"/>
          <p:cNvSpPr/>
          <p:nvPr/>
        </p:nvSpPr>
        <p:spPr bwMode="auto">
          <a:xfrm>
            <a:off x="9446942" y="4498943"/>
            <a:ext cx="2454414" cy="206918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9144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626" algn="ctr" defTabSz="932114">
              <a:lnSpc>
                <a:spcPct val="90000"/>
              </a:lnSpc>
            </a:pPr>
            <a:r>
              <a:rPr lang="en-US" sz="28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  <a:t>Complex Deployment</a:t>
            </a:r>
          </a:p>
          <a:p>
            <a:pPr marL="239626" algn="ctr" defTabSz="932114">
              <a:lnSpc>
                <a:spcPct val="90000"/>
              </a:lnSpc>
            </a:pPr>
            <a:r>
              <a:rPr lang="en-US" sz="28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  <a:t>Processes</a:t>
            </a:r>
          </a:p>
        </p:txBody>
      </p:sp>
      <p:sp>
        <p:nvSpPr>
          <p:cNvPr id="116" name="Rectangle 115"/>
          <p:cNvSpPr/>
          <p:nvPr/>
        </p:nvSpPr>
        <p:spPr bwMode="auto">
          <a:xfrm>
            <a:off x="954909" y="4496693"/>
            <a:ext cx="1568919" cy="206918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626" algn="ctr" defTabSz="932114">
              <a:lnSpc>
                <a:spcPct val="90000"/>
              </a:lnSpc>
            </a:pPr>
            <a:r>
              <a:rPr lang="en-US" sz="28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  <a:t>Limited Data Scale</a:t>
            </a:r>
          </a:p>
        </p:txBody>
      </p:sp>
    </p:spTree>
    <p:extLst>
      <p:ext uri="{BB962C8B-B14F-4D97-AF65-F5344CB8AC3E}">
        <p14:creationId xmlns:p14="http://schemas.microsoft.com/office/powerpoint/2010/main" val="3845941596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105175_Spark_ident_v01LowerRes_background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586722" cy="782731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idx="4294967295"/>
          </p:nvPr>
        </p:nvSpPr>
        <p:spPr>
          <a:xfrm>
            <a:off x="0" y="3206236"/>
            <a:ext cx="12598061" cy="1027112"/>
          </a:xfrm>
        </p:spPr>
        <p:txBody>
          <a:bodyPr/>
          <a:lstStyle/>
          <a:p>
            <a:pPr algn="ctr"/>
            <a:r>
              <a:rPr lang="en-US" dirty="0"/>
              <a:t>Win a Spark After Dark drone </a:t>
            </a:r>
            <a:br>
              <a:rPr lang="en-US" dirty="0"/>
            </a:br>
            <a:r>
              <a:rPr lang="en-US" dirty="0"/>
              <a:t>pilot pass by completing your</a:t>
            </a:r>
            <a:br>
              <a:rPr lang="en-US" dirty="0"/>
            </a:br>
            <a:r>
              <a:rPr lang="en-US" dirty="0"/>
              <a:t> session evaluation ASAP </a:t>
            </a:r>
            <a:br>
              <a:rPr lang="en-US" dirty="0"/>
            </a:br>
            <a:br>
              <a:rPr lang="en-US" dirty="0"/>
            </a:br>
            <a:r>
              <a:rPr lang="en-US" sz="2000" spc="-101" dirty="0">
                <a:solidFill>
                  <a:srgbClr val="FFFFFF"/>
                </a:solidFill>
              </a:rPr>
              <a:t>#MSAUIGNITE</a:t>
            </a:r>
            <a:endParaRPr lang="en-US" dirty="0"/>
          </a:p>
        </p:txBody>
      </p:sp>
      <p:pic>
        <p:nvPicPr>
          <p:cNvPr id="6" name="Picture 5" descr="105175_Spark_ident_v01LowerRe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7045" y="0"/>
            <a:ext cx="5382385" cy="3347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98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0000">
        <p14:reveal/>
      </p:transition>
    </mc:Choice>
    <mc:Fallback xmlns="">
      <p:transition advClick="0" advTm="10000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105175_Spark_ident_v01LowerRes_background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586722" cy="78273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614" y="2613226"/>
            <a:ext cx="11157404" cy="4016272"/>
          </a:xfrm>
        </p:spPr>
        <p:txBody>
          <a:bodyPr/>
          <a:lstStyle/>
          <a:p>
            <a:pPr algn="ctr"/>
            <a:r>
              <a:rPr lang="en-US" sz="4800" dirty="0">
                <a:solidFill>
                  <a:schemeClr val="bg1"/>
                </a:solidFill>
              </a:rPr>
              <a:t>Remember to collect your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4800" dirty="0">
                <a:solidFill>
                  <a:schemeClr val="bg1"/>
                </a:solidFill>
              </a:rPr>
              <a:t>wristbands for Spark After Dark!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sz="44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Located at Ignite Help Desk, 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Foyer C, Foyers Halls ¾</a:t>
            </a:r>
            <a:br>
              <a:rPr lang="en-US" sz="3600" dirty="0">
                <a:solidFill>
                  <a:schemeClr val="bg1"/>
                </a:solidFill>
              </a:rPr>
            </a:br>
            <a:br>
              <a:rPr lang="en-US" sz="2000" dirty="0">
                <a:solidFill>
                  <a:schemeClr val="bg1"/>
                </a:solidFill>
              </a:rPr>
            </a:b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rgbClr val="FFFFFF"/>
                </a:solidFill>
              </a:rPr>
              <a:t>#MSAUIGNITE</a:t>
            </a:r>
            <a:br>
              <a:rPr lang="en-US" sz="3600" dirty="0"/>
            </a:b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4" name="Picture 3" descr="105175_Spark_ident_v01LowerRe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7045" y="0"/>
            <a:ext cx="5382385" cy="3347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19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14:reveal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1573" y="1913086"/>
            <a:ext cx="11887200" cy="118186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Thank you</a:t>
            </a:r>
            <a:br>
              <a:rPr lang="en-US" sz="3000" dirty="0"/>
            </a:br>
            <a:br>
              <a:rPr lang="en-US" sz="4800" dirty="0"/>
            </a:br>
            <a:r>
              <a:rPr lang="en-US" sz="3200" dirty="0"/>
              <a:t>Chat with me in the Speaker Lounge </a:t>
            </a:r>
            <a:br>
              <a:rPr lang="en-US" sz="3200"/>
            </a:br>
            <a:r>
              <a:rPr lang="en-US" sz="3200"/>
              <a:t>Contact me: hongooi@microsoft.com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06607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 from Microsoft bring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12191" y="1910167"/>
            <a:ext cx="2468880" cy="2468880"/>
            <a:chOff x="648008" y="1910167"/>
            <a:chExt cx="2468880" cy="2468880"/>
          </a:xfrm>
        </p:grpSpPr>
        <p:grpSp>
          <p:nvGrpSpPr>
            <p:cNvPr id="78" name="Group 77"/>
            <p:cNvGrpSpPr/>
            <p:nvPr/>
          </p:nvGrpSpPr>
          <p:grpSpPr>
            <a:xfrm>
              <a:off x="1181605" y="2314407"/>
              <a:ext cx="1315869" cy="1660399"/>
              <a:chOff x="1101154" y="2354002"/>
              <a:chExt cx="1456277" cy="1837570"/>
            </a:xfrm>
          </p:grpSpPr>
          <p:grpSp>
            <p:nvGrpSpPr>
              <p:cNvPr id="79" name="Group 78"/>
              <p:cNvGrpSpPr/>
              <p:nvPr/>
            </p:nvGrpSpPr>
            <p:grpSpPr>
              <a:xfrm>
                <a:off x="1436087" y="2354002"/>
                <a:ext cx="1121344" cy="1837570"/>
                <a:chOff x="1436087" y="2354002"/>
                <a:chExt cx="1121344" cy="1837570"/>
              </a:xfrm>
            </p:grpSpPr>
            <p:sp>
              <p:nvSpPr>
                <p:cNvPr id="84" name="Freeform 7"/>
                <p:cNvSpPr>
                  <a:spLocks/>
                </p:cNvSpPr>
                <p:nvPr/>
              </p:nvSpPr>
              <p:spPr bwMode="auto">
                <a:xfrm>
                  <a:off x="1436088" y="2604681"/>
                  <a:ext cx="962430" cy="1586891"/>
                </a:xfrm>
                <a:custGeom>
                  <a:avLst/>
                  <a:gdLst>
                    <a:gd name="T0" fmla="*/ 913 w 914"/>
                    <a:gd name="T1" fmla="*/ 336 h 1506"/>
                    <a:gd name="T2" fmla="*/ 457 w 914"/>
                    <a:gd name="T3" fmla="*/ 0 h 1506"/>
                    <a:gd name="T4" fmla="*/ 0 w 914"/>
                    <a:gd name="T5" fmla="*/ 364 h 1506"/>
                    <a:gd name="T6" fmla="*/ 0 w 914"/>
                    <a:gd name="T7" fmla="*/ 1506 h 1506"/>
                    <a:gd name="T8" fmla="*/ 809 w 914"/>
                    <a:gd name="T9" fmla="*/ 1506 h 1506"/>
                    <a:gd name="T10" fmla="*/ 799 w 914"/>
                    <a:gd name="T11" fmla="*/ 907 h 1506"/>
                    <a:gd name="T12" fmla="*/ 914 w 914"/>
                    <a:gd name="T13" fmla="*/ 907 h 1506"/>
                    <a:gd name="T14" fmla="*/ 914 w 914"/>
                    <a:gd name="T15" fmla="*/ 336 h 1506"/>
                    <a:gd name="T16" fmla="*/ 913 w 914"/>
                    <a:gd name="T17" fmla="*/ 336 h 15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14" h="1506">
                      <a:moveTo>
                        <a:pt x="913" y="336"/>
                      </a:moveTo>
                      <a:cubicBezTo>
                        <a:pt x="898" y="97"/>
                        <a:pt x="699" y="0"/>
                        <a:pt x="457" y="0"/>
                      </a:cubicBezTo>
                      <a:cubicBezTo>
                        <a:pt x="205" y="0"/>
                        <a:pt x="0" y="112"/>
                        <a:pt x="0" y="364"/>
                      </a:cubicBezTo>
                      <a:cubicBezTo>
                        <a:pt x="0" y="1506"/>
                        <a:pt x="0" y="1506"/>
                        <a:pt x="0" y="1506"/>
                      </a:cubicBezTo>
                      <a:cubicBezTo>
                        <a:pt x="809" y="1506"/>
                        <a:pt x="809" y="1506"/>
                        <a:pt x="809" y="1506"/>
                      </a:cubicBezTo>
                      <a:cubicBezTo>
                        <a:pt x="799" y="907"/>
                        <a:pt x="799" y="907"/>
                        <a:pt x="799" y="907"/>
                      </a:cubicBezTo>
                      <a:cubicBezTo>
                        <a:pt x="914" y="907"/>
                        <a:pt x="914" y="907"/>
                        <a:pt x="914" y="907"/>
                      </a:cubicBezTo>
                      <a:cubicBezTo>
                        <a:pt x="914" y="336"/>
                        <a:pt x="914" y="336"/>
                        <a:pt x="914" y="336"/>
                      </a:cubicBezTo>
                      <a:cubicBezTo>
                        <a:pt x="913" y="336"/>
                        <a:pt x="913" y="336"/>
                        <a:pt x="913" y="336"/>
                      </a:cubicBezTo>
                    </a:path>
                  </a:pathLst>
                </a:custGeom>
                <a:solidFill>
                  <a:schemeClr val="bg1">
                    <a:lumMod val="20000"/>
                    <a:lumOff val="80000"/>
                  </a:schemeClr>
                </a:solidFill>
                <a:ln w="25400">
                  <a:solidFill>
                    <a:srgbClr val="FFB900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" name="Oval 8"/>
                <p:cNvSpPr>
                  <a:spLocks noChangeArrowheads="1"/>
                </p:cNvSpPr>
                <p:nvPr/>
              </p:nvSpPr>
              <p:spPr bwMode="auto">
                <a:xfrm>
                  <a:off x="2156792" y="3258238"/>
                  <a:ext cx="60432" cy="60432"/>
                </a:xfrm>
                <a:prstGeom prst="ellipse">
                  <a:avLst/>
                </a:prstGeom>
                <a:solidFill>
                  <a:srgbClr val="00205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" name="Freeform 9"/>
                <p:cNvSpPr>
                  <a:spLocks/>
                </p:cNvSpPr>
                <p:nvPr/>
              </p:nvSpPr>
              <p:spPr bwMode="auto">
                <a:xfrm>
                  <a:off x="1436087" y="2354002"/>
                  <a:ext cx="1121344" cy="1445883"/>
                </a:xfrm>
                <a:custGeom>
                  <a:avLst/>
                  <a:gdLst>
                    <a:gd name="T0" fmla="*/ 944 w 1066"/>
                    <a:gd name="T1" fmla="*/ 448 h 1373"/>
                    <a:gd name="T2" fmla="*/ 1066 w 1066"/>
                    <a:gd name="T3" fmla="*/ 373 h 1373"/>
                    <a:gd name="T4" fmla="*/ 710 w 1066"/>
                    <a:gd name="T5" fmla="*/ 235 h 1373"/>
                    <a:gd name="T6" fmla="*/ 823 w 1066"/>
                    <a:gd name="T7" fmla="*/ 76 h 1373"/>
                    <a:gd name="T8" fmla="*/ 374 w 1066"/>
                    <a:gd name="T9" fmla="*/ 243 h 1373"/>
                    <a:gd name="T10" fmla="*/ 455 w 1066"/>
                    <a:gd name="T11" fmla="*/ 34 h 1373"/>
                    <a:gd name="T12" fmla="*/ 2 w 1066"/>
                    <a:gd name="T13" fmla="*/ 437 h 1373"/>
                    <a:gd name="T14" fmla="*/ 0 w 1066"/>
                    <a:gd name="T15" fmla="*/ 750 h 1373"/>
                    <a:gd name="T16" fmla="*/ 0 w 1066"/>
                    <a:gd name="T17" fmla="*/ 943 h 1373"/>
                    <a:gd name="T18" fmla="*/ 0 w 1066"/>
                    <a:gd name="T19" fmla="*/ 1373 h 1373"/>
                    <a:gd name="T20" fmla="*/ 0 w 1066"/>
                    <a:gd name="T21" fmla="*/ 1373 h 1373"/>
                    <a:gd name="T22" fmla="*/ 335 w 1066"/>
                    <a:gd name="T23" fmla="*/ 1087 h 1373"/>
                    <a:gd name="T24" fmla="*/ 335 w 1066"/>
                    <a:gd name="T25" fmla="*/ 886 h 1373"/>
                    <a:gd name="T26" fmla="*/ 346 w 1066"/>
                    <a:gd name="T27" fmla="*/ 879 h 1373"/>
                    <a:gd name="T28" fmla="*/ 457 w 1066"/>
                    <a:gd name="T29" fmla="*/ 760 h 1373"/>
                    <a:gd name="T30" fmla="*/ 458 w 1066"/>
                    <a:gd name="T31" fmla="*/ 829 h 1373"/>
                    <a:gd name="T32" fmla="*/ 736 w 1066"/>
                    <a:gd name="T33" fmla="*/ 619 h 1373"/>
                    <a:gd name="T34" fmla="*/ 710 w 1066"/>
                    <a:gd name="T35" fmla="*/ 731 h 1373"/>
                    <a:gd name="T36" fmla="*/ 931 w 1066"/>
                    <a:gd name="T37" fmla="*/ 567 h 1373"/>
                    <a:gd name="T38" fmla="*/ 1016 w 1066"/>
                    <a:gd name="T39" fmla="*/ 610 h 1373"/>
                    <a:gd name="T40" fmla="*/ 944 w 1066"/>
                    <a:gd name="T41" fmla="*/ 448 h 1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066" h="1373">
                      <a:moveTo>
                        <a:pt x="944" y="448"/>
                      </a:moveTo>
                      <a:cubicBezTo>
                        <a:pt x="1066" y="373"/>
                        <a:pt x="1066" y="373"/>
                        <a:pt x="1066" y="373"/>
                      </a:cubicBezTo>
                      <a:cubicBezTo>
                        <a:pt x="937" y="152"/>
                        <a:pt x="710" y="235"/>
                        <a:pt x="710" y="235"/>
                      </a:cubicBezTo>
                      <a:cubicBezTo>
                        <a:pt x="823" y="76"/>
                        <a:pt x="823" y="76"/>
                        <a:pt x="823" y="76"/>
                      </a:cubicBezTo>
                      <a:cubicBezTo>
                        <a:pt x="541" y="0"/>
                        <a:pt x="374" y="243"/>
                        <a:pt x="374" y="243"/>
                      </a:cubicBezTo>
                      <a:cubicBezTo>
                        <a:pt x="455" y="34"/>
                        <a:pt x="455" y="34"/>
                        <a:pt x="455" y="34"/>
                      </a:cubicBezTo>
                      <a:cubicBezTo>
                        <a:pt x="61" y="76"/>
                        <a:pt x="2" y="437"/>
                        <a:pt x="2" y="437"/>
                      </a:cubicBezTo>
                      <a:cubicBezTo>
                        <a:pt x="0" y="750"/>
                        <a:pt x="0" y="750"/>
                        <a:pt x="0" y="750"/>
                      </a:cubicBezTo>
                      <a:cubicBezTo>
                        <a:pt x="0" y="943"/>
                        <a:pt x="0" y="943"/>
                        <a:pt x="0" y="943"/>
                      </a:cubicBezTo>
                      <a:cubicBezTo>
                        <a:pt x="0" y="1373"/>
                        <a:pt x="0" y="1373"/>
                        <a:pt x="0" y="1373"/>
                      </a:cubicBezTo>
                      <a:cubicBezTo>
                        <a:pt x="0" y="1373"/>
                        <a:pt x="0" y="1373"/>
                        <a:pt x="0" y="1373"/>
                      </a:cubicBezTo>
                      <a:cubicBezTo>
                        <a:pt x="314" y="1316"/>
                        <a:pt x="335" y="1087"/>
                        <a:pt x="335" y="1087"/>
                      </a:cubicBezTo>
                      <a:cubicBezTo>
                        <a:pt x="335" y="886"/>
                        <a:pt x="335" y="886"/>
                        <a:pt x="335" y="886"/>
                      </a:cubicBezTo>
                      <a:cubicBezTo>
                        <a:pt x="346" y="879"/>
                        <a:pt x="346" y="879"/>
                        <a:pt x="346" y="879"/>
                      </a:cubicBezTo>
                      <a:cubicBezTo>
                        <a:pt x="346" y="879"/>
                        <a:pt x="409" y="829"/>
                        <a:pt x="457" y="760"/>
                      </a:cubicBezTo>
                      <a:cubicBezTo>
                        <a:pt x="458" y="829"/>
                        <a:pt x="458" y="829"/>
                        <a:pt x="458" y="829"/>
                      </a:cubicBezTo>
                      <a:cubicBezTo>
                        <a:pt x="688" y="757"/>
                        <a:pt x="736" y="619"/>
                        <a:pt x="736" y="619"/>
                      </a:cubicBezTo>
                      <a:cubicBezTo>
                        <a:pt x="710" y="731"/>
                        <a:pt x="710" y="731"/>
                        <a:pt x="710" y="731"/>
                      </a:cubicBezTo>
                      <a:cubicBezTo>
                        <a:pt x="858" y="684"/>
                        <a:pt x="914" y="621"/>
                        <a:pt x="931" y="567"/>
                      </a:cubicBezTo>
                      <a:cubicBezTo>
                        <a:pt x="1016" y="610"/>
                        <a:pt x="1016" y="610"/>
                        <a:pt x="1016" y="610"/>
                      </a:cubicBezTo>
                      <a:cubicBezTo>
                        <a:pt x="1037" y="514"/>
                        <a:pt x="979" y="467"/>
                        <a:pt x="944" y="448"/>
                      </a:cubicBezTo>
                    </a:path>
                  </a:pathLst>
                </a:custGeom>
                <a:solidFill>
                  <a:schemeClr val="bg1"/>
                </a:solidFill>
                <a:ln w="25400">
                  <a:solidFill>
                    <a:schemeClr val="tx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" name="Freeform 10"/>
                <p:cNvSpPr>
                  <a:spLocks/>
                </p:cNvSpPr>
                <p:nvPr/>
              </p:nvSpPr>
              <p:spPr bwMode="auto">
                <a:xfrm>
                  <a:off x="1601716" y="3287336"/>
                  <a:ext cx="196963" cy="391687"/>
                </a:xfrm>
                <a:custGeom>
                  <a:avLst/>
                  <a:gdLst>
                    <a:gd name="T0" fmla="*/ 187 w 187"/>
                    <a:gd name="T1" fmla="*/ 0 h 373"/>
                    <a:gd name="T2" fmla="*/ 0 w 187"/>
                    <a:gd name="T3" fmla="*/ 187 h 373"/>
                    <a:gd name="T4" fmla="*/ 187 w 187"/>
                    <a:gd name="T5" fmla="*/ 373 h 373"/>
                    <a:gd name="T6" fmla="*/ 187 w 187"/>
                    <a:gd name="T7" fmla="*/ 0 h 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7" h="373">
                      <a:moveTo>
                        <a:pt x="187" y="0"/>
                      </a:moveTo>
                      <a:cubicBezTo>
                        <a:pt x="84" y="0"/>
                        <a:pt x="0" y="83"/>
                        <a:pt x="0" y="187"/>
                      </a:cubicBezTo>
                      <a:cubicBezTo>
                        <a:pt x="0" y="290"/>
                        <a:pt x="84" y="373"/>
                        <a:pt x="187" y="373"/>
                      </a:cubicBezTo>
                      <a:cubicBezTo>
                        <a:pt x="187" y="0"/>
                        <a:pt x="187" y="0"/>
                        <a:pt x="187" y="0"/>
                      </a:cubicBezTo>
                    </a:path>
                  </a:pathLst>
                </a:custGeom>
                <a:solidFill>
                  <a:schemeClr val="bg1">
                    <a:lumMod val="60000"/>
                    <a:lumOff val="40000"/>
                  </a:schemeClr>
                </a:solidFill>
                <a:ln w="25400">
                  <a:solidFill>
                    <a:schemeClr val="tx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80" name="Group 41"/>
              <p:cNvGrpSpPr>
                <a:grpSpLocks noChangeAspect="1"/>
              </p:cNvGrpSpPr>
              <p:nvPr/>
            </p:nvGrpSpPr>
            <p:grpSpPr bwMode="auto">
              <a:xfrm>
                <a:off x="1101154" y="2427691"/>
                <a:ext cx="654050" cy="657224"/>
                <a:chOff x="590" y="2261"/>
                <a:chExt cx="412" cy="414"/>
              </a:xfrm>
            </p:grpSpPr>
            <p:sp>
              <p:nvSpPr>
                <p:cNvPr id="81" name="AutoShape 40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67" y="2365"/>
                  <a:ext cx="238" cy="239"/>
                </a:xfrm>
                <a:prstGeom prst="rect">
                  <a:avLst/>
                </a:prstGeom>
                <a:noFill/>
                <a:ln w="25400">
                  <a:noFill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" name="Oval 42"/>
                <p:cNvSpPr>
                  <a:spLocks noChangeArrowheads="1"/>
                </p:cNvSpPr>
                <p:nvPr/>
              </p:nvSpPr>
              <p:spPr bwMode="auto">
                <a:xfrm>
                  <a:off x="595" y="2273"/>
                  <a:ext cx="395" cy="397"/>
                </a:xfrm>
                <a:prstGeom prst="ellipse">
                  <a:avLst/>
                </a:prstGeom>
                <a:solidFill>
                  <a:schemeClr val="bg1">
                    <a:lumMod val="20000"/>
                    <a:lumOff val="80000"/>
                  </a:schemeClr>
                </a:solidFill>
                <a:ln w="25400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" name="Freeform 43"/>
                <p:cNvSpPr>
                  <a:spLocks noEditPoints="1"/>
                </p:cNvSpPr>
                <p:nvPr/>
              </p:nvSpPr>
              <p:spPr bwMode="auto">
                <a:xfrm>
                  <a:off x="590" y="2261"/>
                  <a:ext cx="412" cy="414"/>
                </a:xfrm>
                <a:custGeom>
                  <a:avLst/>
                  <a:gdLst>
                    <a:gd name="T0" fmla="*/ 2803 w 2918"/>
                    <a:gd name="T1" fmla="*/ 891 h 2918"/>
                    <a:gd name="T2" fmla="*/ 2491 w 2918"/>
                    <a:gd name="T3" fmla="*/ 427 h 2918"/>
                    <a:gd name="T4" fmla="*/ 2027 w 2918"/>
                    <a:gd name="T5" fmla="*/ 115 h 2918"/>
                    <a:gd name="T6" fmla="*/ 1459 w 2918"/>
                    <a:gd name="T7" fmla="*/ 0 h 2918"/>
                    <a:gd name="T8" fmla="*/ 891 w 2918"/>
                    <a:gd name="T9" fmla="*/ 115 h 2918"/>
                    <a:gd name="T10" fmla="*/ 427 w 2918"/>
                    <a:gd name="T11" fmla="*/ 427 h 2918"/>
                    <a:gd name="T12" fmla="*/ 115 w 2918"/>
                    <a:gd name="T13" fmla="*/ 891 h 2918"/>
                    <a:gd name="T14" fmla="*/ 0 w 2918"/>
                    <a:gd name="T15" fmla="*/ 1459 h 2918"/>
                    <a:gd name="T16" fmla="*/ 115 w 2918"/>
                    <a:gd name="T17" fmla="*/ 2027 h 2918"/>
                    <a:gd name="T18" fmla="*/ 427 w 2918"/>
                    <a:gd name="T19" fmla="*/ 2491 h 2918"/>
                    <a:gd name="T20" fmla="*/ 891 w 2918"/>
                    <a:gd name="T21" fmla="*/ 2803 h 2918"/>
                    <a:gd name="T22" fmla="*/ 1459 w 2918"/>
                    <a:gd name="T23" fmla="*/ 2918 h 2918"/>
                    <a:gd name="T24" fmla="*/ 2027 w 2918"/>
                    <a:gd name="T25" fmla="*/ 2803 h 2918"/>
                    <a:gd name="T26" fmla="*/ 2491 w 2918"/>
                    <a:gd name="T27" fmla="*/ 2491 h 2918"/>
                    <a:gd name="T28" fmla="*/ 2803 w 2918"/>
                    <a:gd name="T29" fmla="*/ 2027 h 2918"/>
                    <a:gd name="T30" fmla="*/ 2918 w 2918"/>
                    <a:gd name="T31" fmla="*/ 1459 h 2918"/>
                    <a:gd name="T32" fmla="*/ 2803 w 2918"/>
                    <a:gd name="T33" fmla="*/ 891 h 2918"/>
                    <a:gd name="T34" fmla="*/ 1393 w 2918"/>
                    <a:gd name="T35" fmla="*/ 1409 h 2918"/>
                    <a:gd name="T36" fmla="*/ 454 w 2918"/>
                    <a:gd name="T37" fmla="*/ 2348 h 2918"/>
                    <a:gd name="T38" fmla="*/ 116 w 2918"/>
                    <a:gd name="T39" fmla="*/ 1459 h 2918"/>
                    <a:gd name="T40" fmla="*/ 1393 w 2918"/>
                    <a:gd name="T41" fmla="*/ 118 h 2918"/>
                    <a:gd name="T42" fmla="*/ 1393 w 2918"/>
                    <a:gd name="T43" fmla="*/ 1409 h 2918"/>
                    <a:gd name="T44" fmla="*/ 1393 w 2918"/>
                    <a:gd name="T45" fmla="*/ 1595 h 2918"/>
                    <a:gd name="T46" fmla="*/ 1393 w 2918"/>
                    <a:gd name="T47" fmla="*/ 2800 h 2918"/>
                    <a:gd name="T48" fmla="*/ 546 w 2918"/>
                    <a:gd name="T49" fmla="*/ 2443 h 2918"/>
                    <a:gd name="T50" fmla="*/ 1393 w 2918"/>
                    <a:gd name="T51" fmla="*/ 1595 h 2918"/>
                    <a:gd name="T52" fmla="*/ 1525 w 2918"/>
                    <a:gd name="T53" fmla="*/ 1593 h 2918"/>
                    <a:gd name="T54" fmla="*/ 2373 w 2918"/>
                    <a:gd name="T55" fmla="*/ 2442 h 2918"/>
                    <a:gd name="T56" fmla="*/ 1525 w 2918"/>
                    <a:gd name="T57" fmla="*/ 2800 h 2918"/>
                    <a:gd name="T58" fmla="*/ 1525 w 2918"/>
                    <a:gd name="T59" fmla="*/ 1593 h 2918"/>
                    <a:gd name="T60" fmla="*/ 1527 w 2918"/>
                    <a:gd name="T61" fmla="*/ 1408 h 2918"/>
                    <a:gd name="T62" fmla="*/ 1525 w 2918"/>
                    <a:gd name="T63" fmla="*/ 1410 h 2918"/>
                    <a:gd name="T64" fmla="*/ 1525 w 2918"/>
                    <a:gd name="T65" fmla="*/ 118 h 2918"/>
                    <a:gd name="T66" fmla="*/ 2802 w 2918"/>
                    <a:gd name="T67" fmla="*/ 1459 h 2918"/>
                    <a:gd name="T68" fmla="*/ 2466 w 2918"/>
                    <a:gd name="T69" fmla="*/ 2347 h 2918"/>
                    <a:gd name="T70" fmla="*/ 1527 w 2918"/>
                    <a:gd name="T71" fmla="*/ 1408 h 29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918" h="2918">
                      <a:moveTo>
                        <a:pt x="2803" y="891"/>
                      </a:moveTo>
                      <a:cubicBezTo>
                        <a:pt x="2730" y="717"/>
                        <a:pt x="2625" y="561"/>
                        <a:pt x="2491" y="427"/>
                      </a:cubicBezTo>
                      <a:cubicBezTo>
                        <a:pt x="2357" y="293"/>
                        <a:pt x="2201" y="188"/>
                        <a:pt x="2027" y="115"/>
                      </a:cubicBezTo>
                      <a:cubicBezTo>
                        <a:pt x="1847" y="39"/>
                        <a:pt x="1656" y="0"/>
                        <a:pt x="1459" y="0"/>
                      </a:cubicBezTo>
                      <a:cubicBezTo>
                        <a:pt x="1262" y="0"/>
                        <a:pt x="1071" y="39"/>
                        <a:pt x="891" y="115"/>
                      </a:cubicBezTo>
                      <a:cubicBezTo>
                        <a:pt x="717" y="188"/>
                        <a:pt x="561" y="293"/>
                        <a:pt x="427" y="427"/>
                      </a:cubicBezTo>
                      <a:cubicBezTo>
                        <a:pt x="294" y="561"/>
                        <a:pt x="188" y="717"/>
                        <a:pt x="115" y="891"/>
                      </a:cubicBezTo>
                      <a:cubicBezTo>
                        <a:pt x="39" y="1071"/>
                        <a:pt x="0" y="1262"/>
                        <a:pt x="0" y="1459"/>
                      </a:cubicBezTo>
                      <a:cubicBezTo>
                        <a:pt x="0" y="1656"/>
                        <a:pt x="39" y="1847"/>
                        <a:pt x="115" y="2027"/>
                      </a:cubicBezTo>
                      <a:cubicBezTo>
                        <a:pt x="188" y="2201"/>
                        <a:pt x="294" y="2357"/>
                        <a:pt x="427" y="2491"/>
                      </a:cubicBezTo>
                      <a:cubicBezTo>
                        <a:pt x="561" y="2625"/>
                        <a:pt x="717" y="2730"/>
                        <a:pt x="891" y="2803"/>
                      </a:cubicBezTo>
                      <a:cubicBezTo>
                        <a:pt x="1071" y="2879"/>
                        <a:pt x="1262" y="2918"/>
                        <a:pt x="1459" y="2918"/>
                      </a:cubicBezTo>
                      <a:cubicBezTo>
                        <a:pt x="1656" y="2918"/>
                        <a:pt x="1847" y="2879"/>
                        <a:pt x="2027" y="2803"/>
                      </a:cubicBezTo>
                      <a:cubicBezTo>
                        <a:pt x="2201" y="2730"/>
                        <a:pt x="2357" y="2625"/>
                        <a:pt x="2491" y="2491"/>
                      </a:cubicBezTo>
                      <a:cubicBezTo>
                        <a:pt x="2625" y="2357"/>
                        <a:pt x="2730" y="2201"/>
                        <a:pt x="2803" y="2027"/>
                      </a:cubicBezTo>
                      <a:cubicBezTo>
                        <a:pt x="2879" y="1847"/>
                        <a:pt x="2918" y="1656"/>
                        <a:pt x="2918" y="1459"/>
                      </a:cubicBezTo>
                      <a:cubicBezTo>
                        <a:pt x="2918" y="1262"/>
                        <a:pt x="2879" y="1071"/>
                        <a:pt x="2803" y="891"/>
                      </a:cubicBezTo>
                      <a:close/>
                      <a:moveTo>
                        <a:pt x="1393" y="1409"/>
                      </a:moveTo>
                      <a:cubicBezTo>
                        <a:pt x="454" y="2348"/>
                        <a:pt x="454" y="2348"/>
                        <a:pt x="454" y="2348"/>
                      </a:cubicBezTo>
                      <a:cubicBezTo>
                        <a:pt x="244" y="2111"/>
                        <a:pt x="116" y="1800"/>
                        <a:pt x="116" y="1459"/>
                      </a:cubicBezTo>
                      <a:cubicBezTo>
                        <a:pt x="116" y="741"/>
                        <a:pt x="683" y="152"/>
                        <a:pt x="1393" y="118"/>
                      </a:cubicBezTo>
                      <a:lnTo>
                        <a:pt x="1393" y="1409"/>
                      </a:lnTo>
                      <a:close/>
                      <a:moveTo>
                        <a:pt x="1393" y="1595"/>
                      </a:moveTo>
                      <a:cubicBezTo>
                        <a:pt x="1393" y="2800"/>
                        <a:pt x="1393" y="2800"/>
                        <a:pt x="1393" y="2800"/>
                      </a:cubicBezTo>
                      <a:cubicBezTo>
                        <a:pt x="1067" y="2784"/>
                        <a:pt x="771" y="2651"/>
                        <a:pt x="546" y="2443"/>
                      </a:cubicBezTo>
                      <a:lnTo>
                        <a:pt x="1393" y="1595"/>
                      </a:lnTo>
                      <a:close/>
                      <a:moveTo>
                        <a:pt x="1525" y="1593"/>
                      </a:moveTo>
                      <a:cubicBezTo>
                        <a:pt x="2373" y="2442"/>
                        <a:pt x="2373" y="2442"/>
                        <a:pt x="2373" y="2442"/>
                      </a:cubicBezTo>
                      <a:cubicBezTo>
                        <a:pt x="2149" y="2651"/>
                        <a:pt x="1852" y="2784"/>
                        <a:pt x="1525" y="2800"/>
                      </a:cubicBezTo>
                      <a:lnTo>
                        <a:pt x="1525" y="1593"/>
                      </a:lnTo>
                      <a:close/>
                      <a:moveTo>
                        <a:pt x="1527" y="1408"/>
                      </a:moveTo>
                      <a:cubicBezTo>
                        <a:pt x="1525" y="1410"/>
                        <a:pt x="1525" y="1410"/>
                        <a:pt x="1525" y="1410"/>
                      </a:cubicBezTo>
                      <a:cubicBezTo>
                        <a:pt x="1525" y="118"/>
                        <a:pt x="1525" y="118"/>
                        <a:pt x="1525" y="118"/>
                      </a:cubicBezTo>
                      <a:cubicBezTo>
                        <a:pt x="2235" y="152"/>
                        <a:pt x="2802" y="741"/>
                        <a:pt x="2802" y="1459"/>
                      </a:cubicBezTo>
                      <a:cubicBezTo>
                        <a:pt x="2802" y="1799"/>
                        <a:pt x="2675" y="2110"/>
                        <a:pt x="2466" y="2347"/>
                      </a:cubicBezTo>
                      <a:lnTo>
                        <a:pt x="1527" y="140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25400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122" name="Oval 121"/>
            <p:cNvSpPr>
              <a:spLocks noChangeAspect="1"/>
            </p:cNvSpPr>
            <p:nvPr/>
          </p:nvSpPr>
          <p:spPr bwMode="auto">
            <a:xfrm>
              <a:off x="648008" y="1910167"/>
              <a:ext cx="2468880" cy="2468880"/>
            </a:xfrm>
            <a:prstGeom prst="ellipse">
              <a:avLst/>
            </a:prstGeom>
            <a:noFill/>
            <a:ln w="254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28">
                <a:lnSpc>
                  <a:spcPct val="90000"/>
                </a:lnSpc>
              </a:pPr>
              <a:endParaRPr lang="en-US" sz="2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474333" y="1910167"/>
            <a:ext cx="2468880" cy="2468880"/>
            <a:chOff x="6354259" y="1910167"/>
            <a:chExt cx="2468880" cy="2468880"/>
          </a:xfrm>
        </p:grpSpPr>
        <p:grpSp>
          <p:nvGrpSpPr>
            <p:cNvPr id="88" name="Group 4"/>
            <p:cNvGrpSpPr>
              <a:grpSpLocks noChangeAspect="1"/>
            </p:cNvGrpSpPr>
            <p:nvPr/>
          </p:nvGrpSpPr>
          <p:grpSpPr bwMode="auto">
            <a:xfrm>
              <a:off x="6595909" y="2502672"/>
              <a:ext cx="1910395" cy="1304798"/>
              <a:chOff x="2270" y="2544"/>
              <a:chExt cx="1347" cy="920"/>
            </a:xfrm>
          </p:grpSpPr>
          <p:sp>
            <p:nvSpPr>
              <p:cNvPr id="89" name="Freeform 5"/>
              <p:cNvSpPr>
                <a:spLocks/>
              </p:cNvSpPr>
              <p:nvPr/>
            </p:nvSpPr>
            <p:spPr bwMode="auto">
              <a:xfrm>
                <a:off x="2341" y="2623"/>
                <a:ext cx="1195" cy="665"/>
              </a:xfrm>
              <a:custGeom>
                <a:avLst/>
                <a:gdLst>
                  <a:gd name="T0" fmla="*/ 1025 w 1219"/>
                  <a:gd name="T1" fmla="*/ 176 h 678"/>
                  <a:gd name="T2" fmla="*/ 1011 w 1219"/>
                  <a:gd name="T3" fmla="*/ 168 h 678"/>
                  <a:gd name="T4" fmla="*/ 1006 w 1219"/>
                  <a:gd name="T5" fmla="*/ 166 h 678"/>
                  <a:gd name="T6" fmla="*/ 992 w 1219"/>
                  <a:gd name="T7" fmla="*/ 159 h 678"/>
                  <a:gd name="T8" fmla="*/ 0 w 1219"/>
                  <a:gd name="T9" fmla="*/ 323 h 678"/>
                  <a:gd name="T10" fmla="*/ 356 w 1219"/>
                  <a:gd name="T11" fmla="*/ 678 h 678"/>
                  <a:gd name="T12" fmla="*/ 681 w 1219"/>
                  <a:gd name="T13" fmla="*/ 579 h 678"/>
                  <a:gd name="T14" fmla="*/ 735 w 1219"/>
                  <a:gd name="T15" fmla="*/ 595 h 678"/>
                  <a:gd name="T16" fmla="*/ 757 w 1219"/>
                  <a:gd name="T17" fmla="*/ 605 h 678"/>
                  <a:gd name="T18" fmla="*/ 863 w 1219"/>
                  <a:gd name="T19" fmla="*/ 678 h 678"/>
                  <a:gd name="T20" fmla="*/ 1219 w 1219"/>
                  <a:gd name="T21" fmla="*/ 323 h 678"/>
                  <a:gd name="T22" fmla="*/ 1025 w 1219"/>
                  <a:gd name="T23" fmla="*/ 176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19" h="678">
                    <a:moveTo>
                      <a:pt x="1025" y="176"/>
                    </a:moveTo>
                    <a:cubicBezTo>
                      <a:pt x="1020" y="173"/>
                      <a:pt x="1015" y="171"/>
                      <a:pt x="1011" y="168"/>
                    </a:cubicBezTo>
                    <a:cubicBezTo>
                      <a:pt x="1008" y="168"/>
                      <a:pt x="1006" y="166"/>
                      <a:pt x="1006" y="166"/>
                    </a:cubicBezTo>
                    <a:cubicBezTo>
                      <a:pt x="1001" y="164"/>
                      <a:pt x="996" y="161"/>
                      <a:pt x="992" y="159"/>
                    </a:cubicBezTo>
                    <a:cubicBezTo>
                      <a:pt x="669" y="0"/>
                      <a:pt x="268" y="55"/>
                      <a:pt x="0" y="323"/>
                    </a:cubicBezTo>
                    <a:cubicBezTo>
                      <a:pt x="356" y="678"/>
                      <a:pt x="356" y="678"/>
                      <a:pt x="356" y="678"/>
                    </a:cubicBezTo>
                    <a:cubicBezTo>
                      <a:pt x="443" y="588"/>
                      <a:pt x="567" y="557"/>
                      <a:pt x="681" y="579"/>
                    </a:cubicBezTo>
                    <a:cubicBezTo>
                      <a:pt x="700" y="583"/>
                      <a:pt x="716" y="588"/>
                      <a:pt x="735" y="595"/>
                    </a:cubicBezTo>
                    <a:cubicBezTo>
                      <a:pt x="742" y="598"/>
                      <a:pt x="750" y="600"/>
                      <a:pt x="757" y="605"/>
                    </a:cubicBezTo>
                    <a:cubicBezTo>
                      <a:pt x="795" y="621"/>
                      <a:pt x="833" y="645"/>
                      <a:pt x="863" y="678"/>
                    </a:cubicBezTo>
                    <a:cubicBezTo>
                      <a:pt x="1219" y="323"/>
                      <a:pt x="1219" y="323"/>
                      <a:pt x="1219" y="323"/>
                    </a:cubicBezTo>
                    <a:cubicBezTo>
                      <a:pt x="1160" y="263"/>
                      <a:pt x="1094" y="214"/>
                      <a:pt x="1025" y="176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rgbClr val="FFB9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6"/>
              <p:cNvSpPr>
                <a:spLocks/>
              </p:cNvSpPr>
              <p:nvPr/>
            </p:nvSpPr>
            <p:spPr bwMode="auto">
              <a:xfrm>
                <a:off x="2270" y="2794"/>
                <a:ext cx="85" cy="92"/>
              </a:xfrm>
              <a:custGeom>
                <a:avLst/>
                <a:gdLst>
                  <a:gd name="T0" fmla="*/ 0 w 85"/>
                  <a:gd name="T1" fmla="*/ 9 h 92"/>
                  <a:gd name="T2" fmla="*/ 75 w 85"/>
                  <a:gd name="T3" fmla="*/ 92 h 92"/>
                  <a:gd name="T4" fmla="*/ 85 w 85"/>
                  <a:gd name="T5" fmla="*/ 82 h 92"/>
                  <a:gd name="T6" fmla="*/ 11 w 85"/>
                  <a:gd name="T7" fmla="*/ 0 h 92"/>
                  <a:gd name="T8" fmla="*/ 0 w 85"/>
                  <a:gd name="T9" fmla="*/ 9 h 92"/>
                  <a:gd name="T10" fmla="*/ 0 w 85"/>
                  <a:gd name="T11" fmla="*/ 9 h 92"/>
                  <a:gd name="T12" fmla="*/ 0 w 85"/>
                  <a:gd name="T13" fmla="*/ 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92">
                    <a:moveTo>
                      <a:pt x="0" y="9"/>
                    </a:moveTo>
                    <a:lnTo>
                      <a:pt x="75" y="92"/>
                    </a:lnTo>
                    <a:lnTo>
                      <a:pt x="85" y="82"/>
                    </a:lnTo>
                    <a:lnTo>
                      <a:pt x="11" y="0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7"/>
              <p:cNvSpPr>
                <a:spLocks/>
              </p:cNvSpPr>
              <p:nvPr/>
            </p:nvSpPr>
            <p:spPr bwMode="auto">
              <a:xfrm>
                <a:off x="2467" y="2656"/>
                <a:ext cx="68" cy="105"/>
              </a:xfrm>
              <a:custGeom>
                <a:avLst/>
                <a:gdLst>
                  <a:gd name="T0" fmla="*/ 0 w 68"/>
                  <a:gd name="T1" fmla="*/ 6 h 105"/>
                  <a:gd name="T2" fmla="*/ 54 w 68"/>
                  <a:gd name="T3" fmla="*/ 105 h 105"/>
                  <a:gd name="T4" fmla="*/ 68 w 68"/>
                  <a:gd name="T5" fmla="*/ 98 h 105"/>
                  <a:gd name="T6" fmla="*/ 14 w 68"/>
                  <a:gd name="T7" fmla="*/ 0 h 105"/>
                  <a:gd name="T8" fmla="*/ 0 w 68"/>
                  <a:gd name="T9" fmla="*/ 6 h 105"/>
                  <a:gd name="T10" fmla="*/ 0 w 68"/>
                  <a:gd name="T11" fmla="*/ 6 h 105"/>
                  <a:gd name="T12" fmla="*/ 0 w 68"/>
                  <a:gd name="T13" fmla="*/ 6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105">
                    <a:moveTo>
                      <a:pt x="0" y="6"/>
                    </a:moveTo>
                    <a:lnTo>
                      <a:pt x="54" y="105"/>
                    </a:lnTo>
                    <a:lnTo>
                      <a:pt x="68" y="98"/>
                    </a:lnTo>
                    <a:lnTo>
                      <a:pt x="14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8"/>
              <p:cNvSpPr>
                <a:spLocks/>
              </p:cNvSpPr>
              <p:nvPr/>
            </p:nvSpPr>
            <p:spPr bwMode="auto">
              <a:xfrm>
                <a:off x="2695" y="2572"/>
                <a:ext cx="41" cy="112"/>
              </a:xfrm>
              <a:custGeom>
                <a:avLst/>
                <a:gdLst>
                  <a:gd name="T0" fmla="*/ 0 w 41"/>
                  <a:gd name="T1" fmla="*/ 2 h 112"/>
                  <a:gd name="T2" fmla="*/ 29 w 41"/>
                  <a:gd name="T3" fmla="*/ 112 h 112"/>
                  <a:gd name="T4" fmla="*/ 41 w 41"/>
                  <a:gd name="T5" fmla="*/ 107 h 112"/>
                  <a:gd name="T6" fmla="*/ 15 w 41"/>
                  <a:gd name="T7" fmla="*/ 0 h 112"/>
                  <a:gd name="T8" fmla="*/ 0 w 41"/>
                  <a:gd name="T9" fmla="*/ 2 h 112"/>
                  <a:gd name="T10" fmla="*/ 0 w 41"/>
                  <a:gd name="T11" fmla="*/ 2 h 112"/>
                  <a:gd name="T12" fmla="*/ 0 w 41"/>
                  <a:gd name="T13" fmla="*/ 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112">
                    <a:moveTo>
                      <a:pt x="0" y="2"/>
                    </a:moveTo>
                    <a:lnTo>
                      <a:pt x="29" y="112"/>
                    </a:lnTo>
                    <a:lnTo>
                      <a:pt x="41" y="107"/>
                    </a:lnTo>
                    <a:lnTo>
                      <a:pt x="15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9"/>
              <p:cNvSpPr>
                <a:spLocks/>
              </p:cNvSpPr>
              <p:nvPr/>
            </p:nvSpPr>
            <p:spPr bwMode="auto">
              <a:xfrm>
                <a:off x="2937" y="2544"/>
                <a:ext cx="16" cy="112"/>
              </a:xfrm>
              <a:custGeom>
                <a:avLst/>
                <a:gdLst>
                  <a:gd name="T0" fmla="*/ 0 w 16"/>
                  <a:gd name="T1" fmla="*/ 112 h 112"/>
                  <a:gd name="T2" fmla="*/ 16 w 16"/>
                  <a:gd name="T3" fmla="*/ 112 h 112"/>
                  <a:gd name="T4" fmla="*/ 16 w 16"/>
                  <a:gd name="T5" fmla="*/ 0 h 112"/>
                  <a:gd name="T6" fmla="*/ 2 w 16"/>
                  <a:gd name="T7" fmla="*/ 0 h 112"/>
                  <a:gd name="T8" fmla="*/ 0 w 16"/>
                  <a:gd name="T9" fmla="*/ 112 h 112"/>
                  <a:gd name="T10" fmla="*/ 0 w 16"/>
                  <a:gd name="T11" fmla="*/ 112 h 112"/>
                  <a:gd name="T12" fmla="*/ 0 w 16"/>
                  <a:gd name="T13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12">
                    <a:moveTo>
                      <a:pt x="0" y="112"/>
                    </a:moveTo>
                    <a:lnTo>
                      <a:pt x="16" y="112"/>
                    </a:lnTo>
                    <a:lnTo>
                      <a:pt x="16" y="0"/>
                    </a:lnTo>
                    <a:lnTo>
                      <a:pt x="2" y="0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10"/>
              <p:cNvSpPr>
                <a:spLocks/>
              </p:cNvSpPr>
              <p:nvPr/>
            </p:nvSpPr>
            <p:spPr bwMode="auto">
              <a:xfrm>
                <a:off x="3152" y="2574"/>
                <a:ext cx="42" cy="112"/>
              </a:xfrm>
              <a:custGeom>
                <a:avLst/>
                <a:gdLst>
                  <a:gd name="T0" fmla="*/ 0 w 42"/>
                  <a:gd name="T1" fmla="*/ 110 h 112"/>
                  <a:gd name="T2" fmla="*/ 13 w 42"/>
                  <a:gd name="T3" fmla="*/ 112 h 112"/>
                  <a:gd name="T4" fmla="*/ 42 w 42"/>
                  <a:gd name="T5" fmla="*/ 5 h 112"/>
                  <a:gd name="T6" fmla="*/ 28 w 42"/>
                  <a:gd name="T7" fmla="*/ 0 h 112"/>
                  <a:gd name="T8" fmla="*/ 0 w 42"/>
                  <a:gd name="T9" fmla="*/ 110 h 112"/>
                  <a:gd name="T10" fmla="*/ 0 w 42"/>
                  <a:gd name="T11" fmla="*/ 110 h 112"/>
                  <a:gd name="T12" fmla="*/ 0 w 42"/>
                  <a:gd name="T13" fmla="*/ 11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112">
                    <a:moveTo>
                      <a:pt x="0" y="110"/>
                    </a:moveTo>
                    <a:lnTo>
                      <a:pt x="13" y="112"/>
                    </a:lnTo>
                    <a:lnTo>
                      <a:pt x="42" y="5"/>
                    </a:lnTo>
                    <a:lnTo>
                      <a:pt x="28" y="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11"/>
              <p:cNvSpPr>
                <a:spLocks/>
              </p:cNvSpPr>
              <p:nvPr/>
            </p:nvSpPr>
            <p:spPr bwMode="auto">
              <a:xfrm>
                <a:off x="3352" y="2662"/>
                <a:ext cx="68" cy="105"/>
              </a:xfrm>
              <a:custGeom>
                <a:avLst/>
                <a:gdLst>
                  <a:gd name="T0" fmla="*/ 56 w 68"/>
                  <a:gd name="T1" fmla="*/ 0 h 105"/>
                  <a:gd name="T2" fmla="*/ 0 w 68"/>
                  <a:gd name="T3" fmla="*/ 99 h 105"/>
                  <a:gd name="T4" fmla="*/ 14 w 68"/>
                  <a:gd name="T5" fmla="*/ 105 h 105"/>
                  <a:gd name="T6" fmla="*/ 68 w 68"/>
                  <a:gd name="T7" fmla="*/ 8 h 105"/>
                  <a:gd name="T8" fmla="*/ 56 w 68"/>
                  <a:gd name="T9" fmla="*/ 0 h 105"/>
                  <a:gd name="T10" fmla="*/ 56 w 68"/>
                  <a:gd name="T11" fmla="*/ 0 h 105"/>
                  <a:gd name="T12" fmla="*/ 56 w 68"/>
                  <a:gd name="T13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105">
                    <a:moveTo>
                      <a:pt x="56" y="0"/>
                    </a:moveTo>
                    <a:lnTo>
                      <a:pt x="0" y="99"/>
                    </a:lnTo>
                    <a:lnTo>
                      <a:pt x="14" y="105"/>
                    </a:lnTo>
                    <a:lnTo>
                      <a:pt x="68" y="8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12"/>
              <p:cNvSpPr>
                <a:spLocks/>
              </p:cNvSpPr>
              <p:nvPr/>
            </p:nvSpPr>
            <p:spPr bwMode="auto">
              <a:xfrm>
                <a:off x="2349" y="2737"/>
                <a:ext cx="59" cy="73"/>
              </a:xfrm>
              <a:custGeom>
                <a:avLst/>
                <a:gdLst>
                  <a:gd name="T0" fmla="*/ 0 w 59"/>
                  <a:gd name="T1" fmla="*/ 11 h 73"/>
                  <a:gd name="T2" fmla="*/ 46 w 59"/>
                  <a:gd name="T3" fmla="*/ 73 h 73"/>
                  <a:gd name="T4" fmla="*/ 59 w 59"/>
                  <a:gd name="T5" fmla="*/ 63 h 73"/>
                  <a:gd name="T6" fmla="*/ 13 w 59"/>
                  <a:gd name="T7" fmla="*/ 0 h 73"/>
                  <a:gd name="T8" fmla="*/ 0 w 59"/>
                  <a:gd name="T9" fmla="*/ 11 h 73"/>
                  <a:gd name="T10" fmla="*/ 0 w 59"/>
                  <a:gd name="T11" fmla="*/ 11 h 73"/>
                  <a:gd name="T12" fmla="*/ 0 w 59"/>
                  <a:gd name="T13" fmla="*/ 11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73">
                    <a:moveTo>
                      <a:pt x="0" y="11"/>
                    </a:moveTo>
                    <a:lnTo>
                      <a:pt x="46" y="73"/>
                    </a:lnTo>
                    <a:lnTo>
                      <a:pt x="59" y="63"/>
                    </a:lnTo>
                    <a:lnTo>
                      <a:pt x="13" y="0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13"/>
              <p:cNvSpPr>
                <a:spLocks/>
              </p:cNvSpPr>
              <p:nvPr/>
            </p:nvSpPr>
            <p:spPr bwMode="auto">
              <a:xfrm>
                <a:off x="2311" y="2767"/>
                <a:ext cx="64" cy="70"/>
              </a:xfrm>
              <a:custGeom>
                <a:avLst/>
                <a:gdLst>
                  <a:gd name="T0" fmla="*/ 0 w 64"/>
                  <a:gd name="T1" fmla="*/ 10 h 70"/>
                  <a:gd name="T2" fmla="*/ 50 w 64"/>
                  <a:gd name="T3" fmla="*/ 70 h 70"/>
                  <a:gd name="T4" fmla="*/ 64 w 64"/>
                  <a:gd name="T5" fmla="*/ 62 h 70"/>
                  <a:gd name="T6" fmla="*/ 12 w 64"/>
                  <a:gd name="T7" fmla="*/ 0 h 70"/>
                  <a:gd name="T8" fmla="*/ 0 w 64"/>
                  <a:gd name="T9" fmla="*/ 10 h 70"/>
                  <a:gd name="T10" fmla="*/ 0 w 64"/>
                  <a:gd name="T11" fmla="*/ 10 h 70"/>
                  <a:gd name="T12" fmla="*/ 0 w 64"/>
                  <a:gd name="T13" fmla="*/ 1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70">
                    <a:moveTo>
                      <a:pt x="0" y="10"/>
                    </a:moveTo>
                    <a:lnTo>
                      <a:pt x="50" y="70"/>
                    </a:lnTo>
                    <a:lnTo>
                      <a:pt x="64" y="62"/>
                    </a:lnTo>
                    <a:lnTo>
                      <a:pt x="12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14"/>
              <p:cNvSpPr>
                <a:spLocks/>
              </p:cNvSpPr>
              <p:nvPr/>
            </p:nvSpPr>
            <p:spPr bwMode="auto">
              <a:xfrm>
                <a:off x="2388" y="2712"/>
                <a:ext cx="57" cy="71"/>
              </a:xfrm>
              <a:custGeom>
                <a:avLst/>
                <a:gdLst>
                  <a:gd name="T0" fmla="*/ 0 w 57"/>
                  <a:gd name="T1" fmla="*/ 8 h 71"/>
                  <a:gd name="T2" fmla="*/ 44 w 57"/>
                  <a:gd name="T3" fmla="*/ 71 h 71"/>
                  <a:gd name="T4" fmla="*/ 57 w 57"/>
                  <a:gd name="T5" fmla="*/ 62 h 71"/>
                  <a:gd name="T6" fmla="*/ 14 w 57"/>
                  <a:gd name="T7" fmla="*/ 0 h 71"/>
                  <a:gd name="T8" fmla="*/ 0 w 57"/>
                  <a:gd name="T9" fmla="*/ 8 h 71"/>
                  <a:gd name="T10" fmla="*/ 0 w 57"/>
                  <a:gd name="T11" fmla="*/ 8 h 71"/>
                  <a:gd name="T12" fmla="*/ 0 w 57"/>
                  <a:gd name="T13" fmla="*/ 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71">
                    <a:moveTo>
                      <a:pt x="0" y="8"/>
                    </a:moveTo>
                    <a:lnTo>
                      <a:pt x="44" y="71"/>
                    </a:lnTo>
                    <a:lnTo>
                      <a:pt x="57" y="62"/>
                    </a:lnTo>
                    <a:lnTo>
                      <a:pt x="1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15"/>
              <p:cNvSpPr>
                <a:spLocks/>
              </p:cNvSpPr>
              <p:nvPr/>
            </p:nvSpPr>
            <p:spPr bwMode="auto">
              <a:xfrm>
                <a:off x="2431" y="2686"/>
                <a:ext cx="53" cy="75"/>
              </a:xfrm>
              <a:custGeom>
                <a:avLst/>
                <a:gdLst>
                  <a:gd name="T0" fmla="*/ 0 w 53"/>
                  <a:gd name="T1" fmla="*/ 10 h 75"/>
                  <a:gd name="T2" fmla="*/ 37 w 53"/>
                  <a:gd name="T3" fmla="*/ 75 h 75"/>
                  <a:gd name="T4" fmla="*/ 53 w 53"/>
                  <a:gd name="T5" fmla="*/ 68 h 75"/>
                  <a:gd name="T6" fmla="*/ 12 w 53"/>
                  <a:gd name="T7" fmla="*/ 0 h 75"/>
                  <a:gd name="T8" fmla="*/ 0 w 53"/>
                  <a:gd name="T9" fmla="*/ 10 h 75"/>
                  <a:gd name="T10" fmla="*/ 0 w 53"/>
                  <a:gd name="T11" fmla="*/ 10 h 75"/>
                  <a:gd name="T12" fmla="*/ 0 w 53"/>
                  <a:gd name="T13" fmla="*/ 1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0" y="10"/>
                    </a:moveTo>
                    <a:lnTo>
                      <a:pt x="37" y="75"/>
                    </a:lnTo>
                    <a:lnTo>
                      <a:pt x="53" y="68"/>
                    </a:lnTo>
                    <a:lnTo>
                      <a:pt x="12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16"/>
              <p:cNvSpPr>
                <a:spLocks/>
              </p:cNvSpPr>
              <p:nvPr/>
            </p:nvSpPr>
            <p:spPr bwMode="auto">
              <a:xfrm>
                <a:off x="2513" y="2643"/>
                <a:ext cx="48" cy="77"/>
              </a:xfrm>
              <a:custGeom>
                <a:avLst/>
                <a:gdLst>
                  <a:gd name="T0" fmla="*/ 0 w 48"/>
                  <a:gd name="T1" fmla="*/ 6 h 77"/>
                  <a:gd name="T2" fmla="*/ 35 w 48"/>
                  <a:gd name="T3" fmla="*/ 77 h 77"/>
                  <a:gd name="T4" fmla="*/ 48 w 48"/>
                  <a:gd name="T5" fmla="*/ 70 h 77"/>
                  <a:gd name="T6" fmla="*/ 17 w 48"/>
                  <a:gd name="T7" fmla="*/ 0 h 77"/>
                  <a:gd name="T8" fmla="*/ 0 w 48"/>
                  <a:gd name="T9" fmla="*/ 6 h 77"/>
                  <a:gd name="T10" fmla="*/ 0 w 48"/>
                  <a:gd name="T11" fmla="*/ 6 h 77"/>
                  <a:gd name="T12" fmla="*/ 0 w 48"/>
                  <a:gd name="T13" fmla="*/ 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77">
                    <a:moveTo>
                      <a:pt x="0" y="6"/>
                    </a:moveTo>
                    <a:lnTo>
                      <a:pt x="35" y="77"/>
                    </a:lnTo>
                    <a:lnTo>
                      <a:pt x="48" y="70"/>
                    </a:lnTo>
                    <a:lnTo>
                      <a:pt x="17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17"/>
              <p:cNvSpPr>
                <a:spLocks/>
              </p:cNvSpPr>
              <p:nvPr/>
            </p:nvSpPr>
            <p:spPr bwMode="auto">
              <a:xfrm>
                <a:off x="2558" y="2623"/>
                <a:ext cx="46" cy="77"/>
              </a:xfrm>
              <a:custGeom>
                <a:avLst/>
                <a:gdLst>
                  <a:gd name="T0" fmla="*/ 0 w 46"/>
                  <a:gd name="T1" fmla="*/ 4 h 77"/>
                  <a:gd name="T2" fmla="*/ 29 w 46"/>
                  <a:gd name="T3" fmla="*/ 77 h 77"/>
                  <a:gd name="T4" fmla="*/ 46 w 46"/>
                  <a:gd name="T5" fmla="*/ 72 h 77"/>
                  <a:gd name="T6" fmla="*/ 15 w 46"/>
                  <a:gd name="T7" fmla="*/ 0 h 77"/>
                  <a:gd name="T8" fmla="*/ 0 w 46"/>
                  <a:gd name="T9" fmla="*/ 4 h 77"/>
                  <a:gd name="T10" fmla="*/ 0 w 46"/>
                  <a:gd name="T11" fmla="*/ 4 h 77"/>
                  <a:gd name="T12" fmla="*/ 0 w 46"/>
                  <a:gd name="T13" fmla="*/ 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77">
                    <a:moveTo>
                      <a:pt x="0" y="4"/>
                    </a:moveTo>
                    <a:lnTo>
                      <a:pt x="29" y="77"/>
                    </a:lnTo>
                    <a:lnTo>
                      <a:pt x="46" y="72"/>
                    </a:lnTo>
                    <a:lnTo>
                      <a:pt x="15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18"/>
              <p:cNvSpPr>
                <a:spLocks/>
              </p:cNvSpPr>
              <p:nvPr/>
            </p:nvSpPr>
            <p:spPr bwMode="auto">
              <a:xfrm>
                <a:off x="2604" y="2605"/>
                <a:ext cx="41" cy="79"/>
              </a:xfrm>
              <a:custGeom>
                <a:avLst/>
                <a:gdLst>
                  <a:gd name="T0" fmla="*/ 0 w 41"/>
                  <a:gd name="T1" fmla="*/ 8 h 79"/>
                  <a:gd name="T2" fmla="*/ 25 w 41"/>
                  <a:gd name="T3" fmla="*/ 79 h 79"/>
                  <a:gd name="T4" fmla="*/ 41 w 41"/>
                  <a:gd name="T5" fmla="*/ 74 h 79"/>
                  <a:gd name="T6" fmla="*/ 14 w 41"/>
                  <a:gd name="T7" fmla="*/ 0 h 79"/>
                  <a:gd name="T8" fmla="*/ 0 w 41"/>
                  <a:gd name="T9" fmla="*/ 8 h 79"/>
                  <a:gd name="T10" fmla="*/ 0 w 41"/>
                  <a:gd name="T11" fmla="*/ 8 h 79"/>
                  <a:gd name="T12" fmla="*/ 0 w 41"/>
                  <a:gd name="T13" fmla="*/ 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79">
                    <a:moveTo>
                      <a:pt x="0" y="8"/>
                    </a:moveTo>
                    <a:lnTo>
                      <a:pt x="25" y="79"/>
                    </a:lnTo>
                    <a:lnTo>
                      <a:pt x="41" y="74"/>
                    </a:lnTo>
                    <a:lnTo>
                      <a:pt x="1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19"/>
              <p:cNvSpPr>
                <a:spLocks/>
              </p:cNvSpPr>
              <p:nvPr/>
            </p:nvSpPr>
            <p:spPr bwMode="auto">
              <a:xfrm>
                <a:off x="2652" y="2590"/>
                <a:ext cx="35" cy="80"/>
              </a:xfrm>
              <a:custGeom>
                <a:avLst/>
                <a:gdLst>
                  <a:gd name="T0" fmla="*/ 0 w 35"/>
                  <a:gd name="T1" fmla="*/ 5 h 80"/>
                  <a:gd name="T2" fmla="*/ 19 w 35"/>
                  <a:gd name="T3" fmla="*/ 80 h 80"/>
                  <a:gd name="T4" fmla="*/ 35 w 35"/>
                  <a:gd name="T5" fmla="*/ 75 h 80"/>
                  <a:gd name="T6" fmla="*/ 13 w 35"/>
                  <a:gd name="T7" fmla="*/ 0 h 80"/>
                  <a:gd name="T8" fmla="*/ 0 w 35"/>
                  <a:gd name="T9" fmla="*/ 5 h 80"/>
                  <a:gd name="T10" fmla="*/ 0 w 35"/>
                  <a:gd name="T11" fmla="*/ 5 h 80"/>
                  <a:gd name="T12" fmla="*/ 0 w 35"/>
                  <a:gd name="T13" fmla="*/ 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80">
                    <a:moveTo>
                      <a:pt x="0" y="5"/>
                    </a:moveTo>
                    <a:lnTo>
                      <a:pt x="19" y="80"/>
                    </a:lnTo>
                    <a:lnTo>
                      <a:pt x="35" y="75"/>
                    </a:lnTo>
                    <a:lnTo>
                      <a:pt x="13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0"/>
              <p:cNvSpPr>
                <a:spLocks/>
              </p:cNvSpPr>
              <p:nvPr/>
            </p:nvSpPr>
            <p:spPr bwMode="auto">
              <a:xfrm>
                <a:off x="2744" y="2569"/>
                <a:ext cx="32" cy="80"/>
              </a:xfrm>
              <a:custGeom>
                <a:avLst/>
                <a:gdLst>
                  <a:gd name="T0" fmla="*/ 0 w 32"/>
                  <a:gd name="T1" fmla="*/ 3 h 80"/>
                  <a:gd name="T2" fmla="*/ 16 w 32"/>
                  <a:gd name="T3" fmla="*/ 80 h 80"/>
                  <a:gd name="T4" fmla="*/ 32 w 32"/>
                  <a:gd name="T5" fmla="*/ 75 h 80"/>
                  <a:gd name="T6" fmla="*/ 16 w 32"/>
                  <a:gd name="T7" fmla="*/ 0 h 80"/>
                  <a:gd name="T8" fmla="*/ 0 w 32"/>
                  <a:gd name="T9" fmla="*/ 3 h 80"/>
                  <a:gd name="T10" fmla="*/ 0 w 32"/>
                  <a:gd name="T11" fmla="*/ 3 h 80"/>
                  <a:gd name="T12" fmla="*/ 0 w 32"/>
                  <a:gd name="T13" fmla="*/ 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80">
                    <a:moveTo>
                      <a:pt x="0" y="3"/>
                    </a:moveTo>
                    <a:lnTo>
                      <a:pt x="16" y="80"/>
                    </a:lnTo>
                    <a:lnTo>
                      <a:pt x="32" y="75"/>
                    </a:lnTo>
                    <a:lnTo>
                      <a:pt x="16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1"/>
              <p:cNvSpPr>
                <a:spLocks/>
              </p:cNvSpPr>
              <p:nvPr/>
            </p:nvSpPr>
            <p:spPr bwMode="auto">
              <a:xfrm>
                <a:off x="2792" y="2562"/>
                <a:ext cx="29" cy="77"/>
              </a:xfrm>
              <a:custGeom>
                <a:avLst/>
                <a:gdLst>
                  <a:gd name="T0" fmla="*/ 0 w 29"/>
                  <a:gd name="T1" fmla="*/ 1 h 77"/>
                  <a:gd name="T2" fmla="*/ 10 w 29"/>
                  <a:gd name="T3" fmla="*/ 77 h 77"/>
                  <a:gd name="T4" fmla="*/ 29 w 29"/>
                  <a:gd name="T5" fmla="*/ 76 h 77"/>
                  <a:gd name="T6" fmla="*/ 17 w 29"/>
                  <a:gd name="T7" fmla="*/ 0 h 77"/>
                  <a:gd name="T8" fmla="*/ 0 w 29"/>
                  <a:gd name="T9" fmla="*/ 1 h 77"/>
                  <a:gd name="T10" fmla="*/ 0 w 29"/>
                  <a:gd name="T11" fmla="*/ 1 h 77"/>
                  <a:gd name="T12" fmla="*/ 0 w 29"/>
                  <a:gd name="T13" fmla="*/ 1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77">
                    <a:moveTo>
                      <a:pt x="0" y="1"/>
                    </a:moveTo>
                    <a:lnTo>
                      <a:pt x="10" y="77"/>
                    </a:lnTo>
                    <a:lnTo>
                      <a:pt x="29" y="76"/>
                    </a:lnTo>
                    <a:lnTo>
                      <a:pt x="17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2"/>
              <p:cNvSpPr>
                <a:spLocks/>
              </p:cNvSpPr>
              <p:nvPr/>
            </p:nvSpPr>
            <p:spPr bwMode="auto">
              <a:xfrm>
                <a:off x="2838" y="2557"/>
                <a:ext cx="26" cy="79"/>
              </a:xfrm>
              <a:custGeom>
                <a:avLst/>
                <a:gdLst>
                  <a:gd name="T0" fmla="*/ 0 w 26"/>
                  <a:gd name="T1" fmla="*/ 2 h 79"/>
                  <a:gd name="T2" fmla="*/ 11 w 26"/>
                  <a:gd name="T3" fmla="*/ 79 h 79"/>
                  <a:gd name="T4" fmla="*/ 26 w 26"/>
                  <a:gd name="T5" fmla="*/ 76 h 79"/>
                  <a:gd name="T6" fmla="*/ 19 w 26"/>
                  <a:gd name="T7" fmla="*/ 0 h 79"/>
                  <a:gd name="T8" fmla="*/ 0 w 26"/>
                  <a:gd name="T9" fmla="*/ 2 h 79"/>
                  <a:gd name="T10" fmla="*/ 0 w 26"/>
                  <a:gd name="T11" fmla="*/ 2 h 79"/>
                  <a:gd name="T12" fmla="*/ 0 w 26"/>
                  <a:gd name="T13" fmla="*/ 2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79">
                    <a:moveTo>
                      <a:pt x="0" y="2"/>
                    </a:moveTo>
                    <a:lnTo>
                      <a:pt x="11" y="79"/>
                    </a:lnTo>
                    <a:lnTo>
                      <a:pt x="26" y="76"/>
                    </a:lnTo>
                    <a:lnTo>
                      <a:pt x="19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3"/>
              <p:cNvSpPr>
                <a:spLocks/>
              </p:cNvSpPr>
              <p:nvPr/>
            </p:nvSpPr>
            <p:spPr bwMode="auto">
              <a:xfrm>
                <a:off x="2886" y="2555"/>
                <a:ext cx="23" cy="76"/>
              </a:xfrm>
              <a:custGeom>
                <a:avLst/>
                <a:gdLst>
                  <a:gd name="T0" fmla="*/ 0 w 23"/>
                  <a:gd name="T1" fmla="*/ 0 h 76"/>
                  <a:gd name="T2" fmla="*/ 5 w 23"/>
                  <a:gd name="T3" fmla="*/ 76 h 76"/>
                  <a:gd name="T4" fmla="*/ 23 w 23"/>
                  <a:gd name="T5" fmla="*/ 75 h 76"/>
                  <a:gd name="T6" fmla="*/ 17 w 23"/>
                  <a:gd name="T7" fmla="*/ 0 h 76"/>
                  <a:gd name="T8" fmla="*/ 0 w 23"/>
                  <a:gd name="T9" fmla="*/ 0 h 76"/>
                  <a:gd name="T10" fmla="*/ 0 w 23"/>
                  <a:gd name="T11" fmla="*/ 0 h 76"/>
                  <a:gd name="T12" fmla="*/ 0 w 23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76">
                    <a:moveTo>
                      <a:pt x="0" y="0"/>
                    </a:moveTo>
                    <a:lnTo>
                      <a:pt x="5" y="76"/>
                    </a:lnTo>
                    <a:lnTo>
                      <a:pt x="23" y="75"/>
                    </a:lnTo>
                    <a:lnTo>
                      <a:pt x="17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4"/>
              <p:cNvSpPr>
                <a:spLocks/>
              </p:cNvSpPr>
              <p:nvPr/>
            </p:nvSpPr>
            <p:spPr bwMode="auto">
              <a:xfrm>
                <a:off x="2980" y="2555"/>
                <a:ext cx="21" cy="76"/>
              </a:xfrm>
              <a:custGeom>
                <a:avLst/>
                <a:gdLst>
                  <a:gd name="T0" fmla="*/ 0 w 21"/>
                  <a:gd name="T1" fmla="*/ 76 h 76"/>
                  <a:gd name="T2" fmla="*/ 16 w 21"/>
                  <a:gd name="T3" fmla="*/ 76 h 76"/>
                  <a:gd name="T4" fmla="*/ 21 w 21"/>
                  <a:gd name="T5" fmla="*/ 2 h 76"/>
                  <a:gd name="T6" fmla="*/ 5 w 21"/>
                  <a:gd name="T7" fmla="*/ 0 h 76"/>
                  <a:gd name="T8" fmla="*/ 0 w 21"/>
                  <a:gd name="T9" fmla="*/ 76 h 76"/>
                  <a:gd name="T10" fmla="*/ 0 w 21"/>
                  <a:gd name="T11" fmla="*/ 76 h 76"/>
                  <a:gd name="T12" fmla="*/ 0 w 21"/>
                  <a:gd name="T13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76">
                    <a:moveTo>
                      <a:pt x="0" y="76"/>
                    </a:moveTo>
                    <a:lnTo>
                      <a:pt x="16" y="76"/>
                    </a:lnTo>
                    <a:lnTo>
                      <a:pt x="21" y="2"/>
                    </a:lnTo>
                    <a:lnTo>
                      <a:pt x="5" y="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5"/>
              <p:cNvSpPr>
                <a:spLocks/>
              </p:cNvSpPr>
              <p:nvPr/>
            </p:nvSpPr>
            <p:spPr bwMode="auto">
              <a:xfrm>
                <a:off x="3024" y="2558"/>
                <a:ext cx="26" cy="80"/>
              </a:xfrm>
              <a:custGeom>
                <a:avLst/>
                <a:gdLst>
                  <a:gd name="T0" fmla="*/ 0 w 26"/>
                  <a:gd name="T1" fmla="*/ 78 h 80"/>
                  <a:gd name="T2" fmla="*/ 18 w 26"/>
                  <a:gd name="T3" fmla="*/ 80 h 80"/>
                  <a:gd name="T4" fmla="*/ 26 w 26"/>
                  <a:gd name="T5" fmla="*/ 0 h 80"/>
                  <a:gd name="T6" fmla="*/ 11 w 26"/>
                  <a:gd name="T7" fmla="*/ 0 h 80"/>
                  <a:gd name="T8" fmla="*/ 0 w 26"/>
                  <a:gd name="T9" fmla="*/ 78 h 80"/>
                  <a:gd name="T10" fmla="*/ 0 w 26"/>
                  <a:gd name="T11" fmla="*/ 78 h 80"/>
                  <a:gd name="T12" fmla="*/ 0 w 26"/>
                  <a:gd name="T13" fmla="*/ 78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80">
                    <a:moveTo>
                      <a:pt x="0" y="78"/>
                    </a:moveTo>
                    <a:lnTo>
                      <a:pt x="18" y="80"/>
                    </a:lnTo>
                    <a:lnTo>
                      <a:pt x="26" y="0"/>
                    </a:lnTo>
                    <a:lnTo>
                      <a:pt x="11" y="0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6"/>
              <p:cNvSpPr>
                <a:spLocks/>
              </p:cNvSpPr>
              <p:nvPr/>
            </p:nvSpPr>
            <p:spPr bwMode="auto">
              <a:xfrm>
                <a:off x="3069" y="2563"/>
                <a:ext cx="31" cy="80"/>
              </a:xfrm>
              <a:custGeom>
                <a:avLst/>
                <a:gdLst>
                  <a:gd name="T0" fmla="*/ 0 w 31"/>
                  <a:gd name="T1" fmla="*/ 76 h 80"/>
                  <a:gd name="T2" fmla="*/ 15 w 31"/>
                  <a:gd name="T3" fmla="*/ 80 h 80"/>
                  <a:gd name="T4" fmla="*/ 31 w 31"/>
                  <a:gd name="T5" fmla="*/ 4 h 80"/>
                  <a:gd name="T6" fmla="*/ 14 w 31"/>
                  <a:gd name="T7" fmla="*/ 0 h 80"/>
                  <a:gd name="T8" fmla="*/ 0 w 31"/>
                  <a:gd name="T9" fmla="*/ 76 h 80"/>
                  <a:gd name="T10" fmla="*/ 0 w 31"/>
                  <a:gd name="T11" fmla="*/ 76 h 80"/>
                  <a:gd name="T12" fmla="*/ 0 w 31"/>
                  <a:gd name="T13" fmla="*/ 7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80">
                    <a:moveTo>
                      <a:pt x="0" y="76"/>
                    </a:moveTo>
                    <a:lnTo>
                      <a:pt x="15" y="80"/>
                    </a:lnTo>
                    <a:lnTo>
                      <a:pt x="31" y="4"/>
                    </a:lnTo>
                    <a:lnTo>
                      <a:pt x="14" y="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"/>
              <p:cNvSpPr>
                <a:spLocks/>
              </p:cNvSpPr>
              <p:nvPr/>
            </p:nvSpPr>
            <p:spPr bwMode="auto">
              <a:xfrm>
                <a:off x="3112" y="2572"/>
                <a:ext cx="34" cy="79"/>
              </a:xfrm>
              <a:custGeom>
                <a:avLst/>
                <a:gdLst>
                  <a:gd name="T0" fmla="*/ 0 w 34"/>
                  <a:gd name="T1" fmla="*/ 75 h 79"/>
                  <a:gd name="T2" fmla="*/ 17 w 34"/>
                  <a:gd name="T3" fmla="*/ 79 h 79"/>
                  <a:gd name="T4" fmla="*/ 34 w 34"/>
                  <a:gd name="T5" fmla="*/ 2 h 79"/>
                  <a:gd name="T6" fmla="*/ 17 w 34"/>
                  <a:gd name="T7" fmla="*/ 0 h 79"/>
                  <a:gd name="T8" fmla="*/ 0 w 34"/>
                  <a:gd name="T9" fmla="*/ 75 h 79"/>
                  <a:gd name="T10" fmla="*/ 0 w 34"/>
                  <a:gd name="T11" fmla="*/ 75 h 79"/>
                  <a:gd name="T12" fmla="*/ 0 w 34"/>
                  <a:gd name="T13" fmla="*/ 75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79">
                    <a:moveTo>
                      <a:pt x="0" y="75"/>
                    </a:moveTo>
                    <a:lnTo>
                      <a:pt x="17" y="79"/>
                    </a:lnTo>
                    <a:lnTo>
                      <a:pt x="34" y="2"/>
                    </a:lnTo>
                    <a:lnTo>
                      <a:pt x="17" y="0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8"/>
              <p:cNvSpPr>
                <a:spLocks/>
              </p:cNvSpPr>
              <p:nvPr/>
            </p:nvSpPr>
            <p:spPr bwMode="auto">
              <a:xfrm>
                <a:off x="3200" y="2597"/>
                <a:ext cx="40" cy="77"/>
              </a:xfrm>
              <a:custGeom>
                <a:avLst/>
                <a:gdLst>
                  <a:gd name="T0" fmla="*/ 0 w 40"/>
                  <a:gd name="T1" fmla="*/ 74 h 77"/>
                  <a:gd name="T2" fmla="*/ 14 w 40"/>
                  <a:gd name="T3" fmla="*/ 77 h 77"/>
                  <a:gd name="T4" fmla="*/ 40 w 40"/>
                  <a:gd name="T5" fmla="*/ 5 h 77"/>
                  <a:gd name="T6" fmla="*/ 23 w 40"/>
                  <a:gd name="T7" fmla="*/ 0 h 77"/>
                  <a:gd name="T8" fmla="*/ 0 w 40"/>
                  <a:gd name="T9" fmla="*/ 74 h 77"/>
                  <a:gd name="T10" fmla="*/ 0 w 40"/>
                  <a:gd name="T11" fmla="*/ 74 h 77"/>
                  <a:gd name="T12" fmla="*/ 0 w 40"/>
                  <a:gd name="T13" fmla="*/ 7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77">
                    <a:moveTo>
                      <a:pt x="0" y="74"/>
                    </a:moveTo>
                    <a:lnTo>
                      <a:pt x="14" y="77"/>
                    </a:lnTo>
                    <a:lnTo>
                      <a:pt x="40" y="5"/>
                    </a:lnTo>
                    <a:lnTo>
                      <a:pt x="23" y="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9"/>
              <p:cNvSpPr>
                <a:spLocks/>
              </p:cNvSpPr>
              <p:nvPr/>
            </p:nvSpPr>
            <p:spPr bwMode="auto">
              <a:xfrm>
                <a:off x="3243" y="2610"/>
                <a:ext cx="41" cy="79"/>
              </a:xfrm>
              <a:custGeom>
                <a:avLst/>
                <a:gdLst>
                  <a:gd name="T0" fmla="*/ 26 w 41"/>
                  <a:gd name="T1" fmla="*/ 0 h 79"/>
                  <a:gd name="T2" fmla="*/ 0 w 41"/>
                  <a:gd name="T3" fmla="*/ 74 h 79"/>
                  <a:gd name="T4" fmla="*/ 14 w 41"/>
                  <a:gd name="T5" fmla="*/ 79 h 79"/>
                  <a:gd name="T6" fmla="*/ 41 w 41"/>
                  <a:gd name="T7" fmla="*/ 6 h 79"/>
                  <a:gd name="T8" fmla="*/ 26 w 41"/>
                  <a:gd name="T9" fmla="*/ 0 h 79"/>
                  <a:gd name="T10" fmla="*/ 26 w 41"/>
                  <a:gd name="T11" fmla="*/ 0 h 79"/>
                  <a:gd name="T12" fmla="*/ 26 w 41"/>
                  <a:gd name="T13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79">
                    <a:moveTo>
                      <a:pt x="26" y="0"/>
                    </a:moveTo>
                    <a:lnTo>
                      <a:pt x="0" y="74"/>
                    </a:lnTo>
                    <a:lnTo>
                      <a:pt x="14" y="79"/>
                    </a:lnTo>
                    <a:lnTo>
                      <a:pt x="41" y="6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0"/>
              <p:cNvSpPr>
                <a:spLocks/>
              </p:cNvSpPr>
              <p:nvPr/>
            </p:nvSpPr>
            <p:spPr bwMode="auto">
              <a:xfrm>
                <a:off x="3284" y="2626"/>
                <a:ext cx="48" cy="79"/>
              </a:xfrm>
              <a:custGeom>
                <a:avLst/>
                <a:gdLst>
                  <a:gd name="T0" fmla="*/ 31 w 48"/>
                  <a:gd name="T1" fmla="*/ 0 h 79"/>
                  <a:gd name="T2" fmla="*/ 0 w 48"/>
                  <a:gd name="T3" fmla="*/ 74 h 79"/>
                  <a:gd name="T4" fmla="*/ 14 w 48"/>
                  <a:gd name="T5" fmla="*/ 79 h 79"/>
                  <a:gd name="T6" fmla="*/ 48 w 48"/>
                  <a:gd name="T7" fmla="*/ 9 h 79"/>
                  <a:gd name="T8" fmla="*/ 31 w 48"/>
                  <a:gd name="T9" fmla="*/ 0 h 79"/>
                  <a:gd name="T10" fmla="*/ 31 w 48"/>
                  <a:gd name="T11" fmla="*/ 0 h 79"/>
                  <a:gd name="T12" fmla="*/ 31 w 48"/>
                  <a:gd name="T13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79">
                    <a:moveTo>
                      <a:pt x="31" y="0"/>
                    </a:moveTo>
                    <a:lnTo>
                      <a:pt x="0" y="74"/>
                    </a:lnTo>
                    <a:lnTo>
                      <a:pt x="14" y="79"/>
                    </a:lnTo>
                    <a:lnTo>
                      <a:pt x="48" y="9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1"/>
              <p:cNvSpPr>
                <a:spLocks/>
              </p:cNvSpPr>
              <p:nvPr/>
            </p:nvSpPr>
            <p:spPr bwMode="auto">
              <a:xfrm>
                <a:off x="3324" y="2648"/>
                <a:ext cx="51" cy="76"/>
              </a:xfrm>
              <a:custGeom>
                <a:avLst/>
                <a:gdLst>
                  <a:gd name="T0" fmla="*/ 35 w 51"/>
                  <a:gd name="T1" fmla="*/ 0 h 76"/>
                  <a:gd name="T2" fmla="*/ 0 w 51"/>
                  <a:gd name="T3" fmla="*/ 70 h 76"/>
                  <a:gd name="T4" fmla="*/ 16 w 51"/>
                  <a:gd name="T5" fmla="*/ 76 h 76"/>
                  <a:gd name="T6" fmla="*/ 51 w 51"/>
                  <a:gd name="T7" fmla="*/ 6 h 76"/>
                  <a:gd name="T8" fmla="*/ 35 w 51"/>
                  <a:gd name="T9" fmla="*/ 0 h 76"/>
                  <a:gd name="T10" fmla="*/ 35 w 51"/>
                  <a:gd name="T11" fmla="*/ 0 h 76"/>
                  <a:gd name="T12" fmla="*/ 35 w 51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" h="76">
                    <a:moveTo>
                      <a:pt x="35" y="0"/>
                    </a:moveTo>
                    <a:lnTo>
                      <a:pt x="0" y="70"/>
                    </a:lnTo>
                    <a:lnTo>
                      <a:pt x="16" y="76"/>
                    </a:lnTo>
                    <a:lnTo>
                      <a:pt x="51" y="6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2"/>
              <p:cNvSpPr>
                <a:spLocks/>
              </p:cNvSpPr>
              <p:nvPr/>
            </p:nvSpPr>
            <p:spPr bwMode="auto">
              <a:xfrm>
                <a:off x="3402" y="2694"/>
                <a:ext cx="57" cy="73"/>
              </a:xfrm>
              <a:custGeom>
                <a:avLst/>
                <a:gdLst>
                  <a:gd name="T0" fmla="*/ 43 w 57"/>
                  <a:gd name="T1" fmla="*/ 0 h 73"/>
                  <a:gd name="T2" fmla="*/ 0 w 57"/>
                  <a:gd name="T3" fmla="*/ 65 h 73"/>
                  <a:gd name="T4" fmla="*/ 15 w 57"/>
                  <a:gd name="T5" fmla="*/ 73 h 73"/>
                  <a:gd name="T6" fmla="*/ 57 w 57"/>
                  <a:gd name="T7" fmla="*/ 8 h 73"/>
                  <a:gd name="T8" fmla="*/ 43 w 57"/>
                  <a:gd name="T9" fmla="*/ 0 h 73"/>
                  <a:gd name="T10" fmla="*/ 43 w 57"/>
                  <a:gd name="T11" fmla="*/ 0 h 73"/>
                  <a:gd name="T12" fmla="*/ 43 w 57"/>
                  <a:gd name="T13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73">
                    <a:moveTo>
                      <a:pt x="43" y="0"/>
                    </a:moveTo>
                    <a:lnTo>
                      <a:pt x="0" y="65"/>
                    </a:lnTo>
                    <a:lnTo>
                      <a:pt x="15" y="73"/>
                    </a:lnTo>
                    <a:lnTo>
                      <a:pt x="57" y="8"/>
                    </a:lnTo>
                    <a:lnTo>
                      <a:pt x="43" y="0"/>
                    </a:lnTo>
                    <a:lnTo>
                      <a:pt x="43" y="0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"/>
              <p:cNvSpPr>
                <a:spLocks/>
              </p:cNvSpPr>
              <p:nvPr/>
            </p:nvSpPr>
            <p:spPr bwMode="auto">
              <a:xfrm>
                <a:off x="3441" y="2720"/>
                <a:ext cx="58" cy="74"/>
              </a:xfrm>
              <a:custGeom>
                <a:avLst/>
                <a:gdLst>
                  <a:gd name="T0" fmla="*/ 43 w 58"/>
                  <a:gd name="T1" fmla="*/ 0 h 74"/>
                  <a:gd name="T2" fmla="*/ 0 w 58"/>
                  <a:gd name="T3" fmla="*/ 64 h 74"/>
                  <a:gd name="T4" fmla="*/ 12 w 58"/>
                  <a:gd name="T5" fmla="*/ 74 h 74"/>
                  <a:gd name="T6" fmla="*/ 58 w 58"/>
                  <a:gd name="T7" fmla="*/ 9 h 74"/>
                  <a:gd name="T8" fmla="*/ 43 w 58"/>
                  <a:gd name="T9" fmla="*/ 0 h 74"/>
                  <a:gd name="T10" fmla="*/ 43 w 58"/>
                  <a:gd name="T11" fmla="*/ 0 h 74"/>
                  <a:gd name="T12" fmla="*/ 43 w 58"/>
                  <a:gd name="T13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74">
                    <a:moveTo>
                      <a:pt x="43" y="0"/>
                    </a:moveTo>
                    <a:lnTo>
                      <a:pt x="0" y="64"/>
                    </a:lnTo>
                    <a:lnTo>
                      <a:pt x="12" y="74"/>
                    </a:lnTo>
                    <a:lnTo>
                      <a:pt x="58" y="9"/>
                    </a:lnTo>
                    <a:lnTo>
                      <a:pt x="43" y="0"/>
                    </a:lnTo>
                    <a:lnTo>
                      <a:pt x="43" y="0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34"/>
              <p:cNvSpPr>
                <a:spLocks/>
              </p:cNvSpPr>
              <p:nvPr/>
            </p:nvSpPr>
            <p:spPr bwMode="auto">
              <a:xfrm>
                <a:off x="3477" y="2746"/>
                <a:ext cx="61" cy="73"/>
              </a:xfrm>
              <a:custGeom>
                <a:avLst/>
                <a:gdLst>
                  <a:gd name="T0" fmla="*/ 49 w 61"/>
                  <a:gd name="T1" fmla="*/ 0 h 73"/>
                  <a:gd name="T2" fmla="*/ 0 w 61"/>
                  <a:gd name="T3" fmla="*/ 61 h 73"/>
                  <a:gd name="T4" fmla="*/ 14 w 61"/>
                  <a:gd name="T5" fmla="*/ 73 h 73"/>
                  <a:gd name="T6" fmla="*/ 61 w 61"/>
                  <a:gd name="T7" fmla="*/ 9 h 73"/>
                  <a:gd name="T8" fmla="*/ 49 w 61"/>
                  <a:gd name="T9" fmla="*/ 0 h 73"/>
                  <a:gd name="T10" fmla="*/ 49 w 61"/>
                  <a:gd name="T11" fmla="*/ 0 h 73"/>
                  <a:gd name="T12" fmla="*/ 49 w 61"/>
                  <a:gd name="T13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73">
                    <a:moveTo>
                      <a:pt x="49" y="0"/>
                    </a:moveTo>
                    <a:lnTo>
                      <a:pt x="0" y="61"/>
                    </a:lnTo>
                    <a:lnTo>
                      <a:pt x="14" y="73"/>
                    </a:lnTo>
                    <a:lnTo>
                      <a:pt x="61" y="9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5"/>
              <p:cNvSpPr>
                <a:spLocks/>
              </p:cNvSpPr>
              <p:nvPr/>
            </p:nvSpPr>
            <p:spPr bwMode="auto">
              <a:xfrm>
                <a:off x="3512" y="2776"/>
                <a:ext cx="64" cy="71"/>
              </a:xfrm>
              <a:custGeom>
                <a:avLst/>
                <a:gdLst>
                  <a:gd name="T0" fmla="*/ 52 w 64"/>
                  <a:gd name="T1" fmla="*/ 0 h 71"/>
                  <a:gd name="T2" fmla="*/ 0 w 64"/>
                  <a:gd name="T3" fmla="*/ 59 h 71"/>
                  <a:gd name="T4" fmla="*/ 14 w 64"/>
                  <a:gd name="T5" fmla="*/ 71 h 71"/>
                  <a:gd name="T6" fmla="*/ 64 w 64"/>
                  <a:gd name="T7" fmla="*/ 10 h 71"/>
                  <a:gd name="T8" fmla="*/ 52 w 64"/>
                  <a:gd name="T9" fmla="*/ 0 h 71"/>
                  <a:gd name="T10" fmla="*/ 52 w 64"/>
                  <a:gd name="T11" fmla="*/ 0 h 71"/>
                  <a:gd name="T12" fmla="*/ 52 w 64"/>
                  <a:gd name="T1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71">
                    <a:moveTo>
                      <a:pt x="52" y="0"/>
                    </a:moveTo>
                    <a:lnTo>
                      <a:pt x="0" y="59"/>
                    </a:lnTo>
                    <a:lnTo>
                      <a:pt x="14" y="71"/>
                    </a:lnTo>
                    <a:lnTo>
                      <a:pt x="64" y="1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6"/>
              <p:cNvSpPr>
                <a:spLocks/>
              </p:cNvSpPr>
              <p:nvPr/>
            </p:nvSpPr>
            <p:spPr bwMode="auto">
              <a:xfrm>
                <a:off x="3530" y="2802"/>
                <a:ext cx="87" cy="91"/>
              </a:xfrm>
              <a:custGeom>
                <a:avLst/>
                <a:gdLst>
                  <a:gd name="T0" fmla="*/ 75 w 87"/>
                  <a:gd name="T1" fmla="*/ 0 h 91"/>
                  <a:gd name="T2" fmla="*/ 0 w 87"/>
                  <a:gd name="T3" fmla="*/ 81 h 91"/>
                  <a:gd name="T4" fmla="*/ 12 w 87"/>
                  <a:gd name="T5" fmla="*/ 91 h 91"/>
                  <a:gd name="T6" fmla="*/ 87 w 87"/>
                  <a:gd name="T7" fmla="*/ 10 h 91"/>
                  <a:gd name="T8" fmla="*/ 75 w 87"/>
                  <a:gd name="T9" fmla="*/ 0 h 91"/>
                  <a:gd name="T10" fmla="*/ 75 w 87"/>
                  <a:gd name="T11" fmla="*/ 0 h 91"/>
                  <a:gd name="T12" fmla="*/ 75 w 87"/>
                  <a:gd name="T13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91">
                    <a:moveTo>
                      <a:pt x="75" y="0"/>
                    </a:moveTo>
                    <a:lnTo>
                      <a:pt x="0" y="81"/>
                    </a:lnTo>
                    <a:lnTo>
                      <a:pt x="12" y="91"/>
                    </a:lnTo>
                    <a:lnTo>
                      <a:pt x="87" y="10"/>
                    </a:lnTo>
                    <a:lnTo>
                      <a:pt x="75" y="0"/>
                    </a:lnTo>
                    <a:lnTo>
                      <a:pt x="75" y="0"/>
                    </a:ln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8"/>
              <p:cNvSpPr>
                <a:spLocks/>
              </p:cNvSpPr>
              <p:nvPr/>
            </p:nvSpPr>
            <p:spPr bwMode="auto">
              <a:xfrm>
                <a:off x="2836" y="2778"/>
                <a:ext cx="491" cy="686"/>
              </a:xfrm>
              <a:custGeom>
                <a:avLst/>
                <a:gdLst>
                  <a:gd name="T0" fmla="*/ 501 w 501"/>
                  <a:gd name="T1" fmla="*/ 7 h 699"/>
                  <a:gd name="T2" fmla="*/ 487 w 501"/>
                  <a:gd name="T3" fmla="*/ 0 h 699"/>
                  <a:gd name="T4" fmla="*/ 176 w 501"/>
                  <a:gd name="T5" fmla="*/ 419 h 699"/>
                  <a:gd name="T6" fmla="*/ 100 w 501"/>
                  <a:gd name="T7" fmla="*/ 521 h 699"/>
                  <a:gd name="T8" fmla="*/ 91 w 501"/>
                  <a:gd name="T9" fmla="*/ 521 h 699"/>
                  <a:gd name="T10" fmla="*/ 0 w 501"/>
                  <a:gd name="T11" fmla="*/ 609 h 699"/>
                  <a:gd name="T12" fmla="*/ 91 w 501"/>
                  <a:gd name="T13" fmla="*/ 699 h 699"/>
                  <a:gd name="T14" fmla="*/ 178 w 501"/>
                  <a:gd name="T15" fmla="*/ 609 h 699"/>
                  <a:gd name="T16" fmla="*/ 157 w 501"/>
                  <a:gd name="T17" fmla="*/ 552 h 699"/>
                  <a:gd name="T18" fmla="*/ 231 w 501"/>
                  <a:gd name="T19" fmla="*/ 436 h 699"/>
                  <a:gd name="T20" fmla="*/ 501 w 501"/>
                  <a:gd name="T21" fmla="*/ 7 h 699"/>
                  <a:gd name="T22" fmla="*/ 501 w 501"/>
                  <a:gd name="T23" fmla="*/ 7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01" h="699">
                    <a:moveTo>
                      <a:pt x="501" y="7"/>
                    </a:moveTo>
                    <a:cubicBezTo>
                      <a:pt x="497" y="5"/>
                      <a:pt x="492" y="2"/>
                      <a:pt x="487" y="0"/>
                    </a:cubicBezTo>
                    <a:cubicBezTo>
                      <a:pt x="176" y="419"/>
                      <a:pt x="176" y="419"/>
                      <a:pt x="176" y="419"/>
                    </a:cubicBezTo>
                    <a:cubicBezTo>
                      <a:pt x="100" y="521"/>
                      <a:pt x="100" y="521"/>
                      <a:pt x="100" y="521"/>
                    </a:cubicBezTo>
                    <a:cubicBezTo>
                      <a:pt x="98" y="521"/>
                      <a:pt x="93" y="521"/>
                      <a:pt x="91" y="521"/>
                    </a:cubicBezTo>
                    <a:cubicBezTo>
                      <a:pt x="41" y="521"/>
                      <a:pt x="0" y="562"/>
                      <a:pt x="0" y="609"/>
                    </a:cubicBezTo>
                    <a:cubicBezTo>
                      <a:pt x="0" y="659"/>
                      <a:pt x="41" y="699"/>
                      <a:pt x="91" y="699"/>
                    </a:cubicBezTo>
                    <a:cubicBezTo>
                      <a:pt x="138" y="699"/>
                      <a:pt x="178" y="659"/>
                      <a:pt x="178" y="609"/>
                    </a:cubicBezTo>
                    <a:cubicBezTo>
                      <a:pt x="178" y="588"/>
                      <a:pt x="171" y="566"/>
                      <a:pt x="157" y="552"/>
                    </a:cubicBezTo>
                    <a:cubicBezTo>
                      <a:pt x="231" y="436"/>
                      <a:pt x="231" y="436"/>
                      <a:pt x="231" y="436"/>
                    </a:cubicBezTo>
                    <a:cubicBezTo>
                      <a:pt x="501" y="7"/>
                      <a:pt x="501" y="7"/>
                      <a:pt x="501" y="7"/>
                    </a:cubicBezTo>
                    <a:cubicBezTo>
                      <a:pt x="501" y="7"/>
                      <a:pt x="501" y="7"/>
                      <a:pt x="501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4" name="Oval 123"/>
            <p:cNvSpPr>
              <a:spLocks noChangeAspect="1"/>
            </p:cNvSpPr>
            <p:nvPr/>
          </p:nvSpPr>
          <p:spPr bwMode="auto">
            <a:xfrm>
              <a:off x="6354259" y="1910167"/>
              <a:ext cx="2468880" cy="2468880"/>
            </a:xfrm>
            <a:prstGeom prst="ellipse">
              <a:avLst/>
            </a:prstGeom>
            <a:noFill/>
            <a:ln w="254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28">
                <a:lnSpc>
                  <a:spcPct val="90000"/>
                </a:lnSpc>
              </a:pPr>
              <a:endParaRPr lang="en-US" sz="2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26" name="Rectangle 125"/>
          <p:cNvSpPr/>
          <p:nvPr/>
        </p:nvSpPr>
        <p:spPr bwMode="auto">
          <a:xfrm>
            <a:off x="465365" y="4496693"/>
            <a:ext cx="2579909" cy="206918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626" algn="ctr" defTabSz="932114">
              <a:lnSpc>
                <a:spcPct val="90000"/>
              </a:lnSpc>
            </a:pPr>
            <a:r>
              <a:rPr lang="en-US" sz="36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  <a:t>Peace of mind </a:t>
            </a:r>
          </a:p>
        </p:txBody>
      </p:sp>
      <p:sp>
        <p:nvSpPr>
          <p:cNvPr id="127" name="Rectangle 126"/>
          <p:cNvSpPr/>
          <p:nvPr/>
        </p:nvSpPr>
        <p:spPr bwMode="auto">
          <a:xfrm>
            <a:off x="3385252" y="4495345"/>
            <a:ext cx="2684899" cy="206918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626" algn="ctr" defTabSz="932114">
              <a:lnSpc>
                <a:spcPct val="90000"/>
              </a:lnSpc>
            </a:pPr>
            <a:r>
              <a:rPr lang="en-US" sz="36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  <a:t>Efficiency</a:t>
            </a:r>
          </a:p>
        </p:txBody>
      </p:sp>
      <p:sp>
        <p:nvSpPr>
          <p:cNvPr id="128" name="Rectangle 127"/>
          <p:cNvSpPr/>
          <p:nvPr/>
        </p:nvSpPr>
        <p:spPr bwMode="auto">
          <a:xfrm>
            <a:off x="6446101" y="4502334"/>
            <a:ext cx="2454414" cy="206918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9144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626" algn="ctr" defTabSz="932114">
              <a:lnSpc>
                <a:spcPct val="90000"/>
              </a:lnSpc>
            </a:pPr>
            <a:r>
              <a:rPr lang="en-US" sz="36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  <a:t>Speed and scalability</a:t>
            </a:r>
          </a:p>
        </p:txBody>
      </p:sp>
      <p:sp>
        <p:nvSpPr>
          <p:cNvPr id="129" name="Rectangle 128"/>
          <p:cNvSpPr/>
          <p:nvPr/>
        </p:nvSpPr>
        <p:spPr bwMode="auto">
          <a:xfrm>
            <a:off x="9442354" y="4495345"/>
            <a:ext cx="2390427" cy="206478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626" algn="ctr" defTabSz="932114">
              <a:lnSpc>
                <a:spcPct val="90000"/>
              </a:lnSpc>
            </a:pPr>
            <a:r>
              <a:rPr lang="en-US" sz="36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  <a:t>Flexibility </a:t>
            </a:r>
            <a:br>
              <a:rPr lang="en-US" sz="36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</a:br>
            <a:r>
              <a:rPr lang="en-US" sz="3600">
                <a:solidFill>
                  <a:schemeClr val="tx1"/>
                </a:solidFill>
                <a:latin typeface="Segoe UI Light"/>
                <a:ea typeface="Segoe UI" pitchFamily="34" charset="0"/>
                <a:cs typeface="Segoe UI" pitchFamily="34" charset="0"/>
              </a:rPr>
              <a:t>and agility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493262" y="1910167"/>
            <a:ext cx="2468880" cy="2468880"/>
            <a:chOff x="3529762" y="1910167"/>
            <a:chExt cx="2468880" cy="2468880"/>
          </a:xfrm>
        </p:grpSpPr>
        <p:sp>
          <p:nvSpPr>
            <p:cNvPr id="125" name="Oval 124"/>
            <p:cNvSpPr>
              <a:spLocks noChangeAspect="1"/>
            </p:cNvSpPr>
            <p:nvPr/>
          </p:nvSpPr>
          <p:spPr bwMode="auto">
            <a:xfrm>
              <a:off x="3529762" y="1910167"/>
              <a:ext cx="2468880" cy="2468880"/>
            </a:xfrm>
            <a:prstGeom prst="ellipse">
              <a:avLst/>
            </a:prstGeom>
            <a:noFill/>
            <a:ln w="254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28">
                <a:lnSpc>
                  <a:spcPct val="90000"/>
                </a:lnSpc>
              </a:pPr>
              <a:endParaRPr lang="en-US" sz="2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0" name="Freeform 7"/>
            <p:cNvSpPr>
              <a:spLocks noEditPoints="1"/>
            </p:cNvSpPr>
            <p:nvPr/>
          </p:nvSpPr>
          <p:spPr bwMode="auto">
            <a:xfrm rot="4923953">
              <a:off x="4462342" y="2224850"/>
              <a:ext cx="1005365" cy="1010107"/>
            </a:xfrm>
            <a:custGeom>
              <a:avLst/>
              <a:gdLst>
                <a:gd name="T0" fmla="*/ 238 w 265"/>
                <a:gd name="T1" fmla="*/ 106 h 265"/>
                <a:gd name="T2" fmla="*/ 253 w 265"/>
                <a:gd name="T3" fmla="*/ 77 h 265"/>
                <a:gd name="T4" fmla="*/ 219 w 265"/>
                <a:gd name="T5" fmla="*/ 67 h 265"/>
                <a:gd name="T6" fmla="*/ 221 w 265"/>
                <a:gd name="T7" fmla="*/ 34 h 265"/>
                <a:gd name="T8" fmla="*/ 188 w 265"/>
                <a:gd name="T9" fmla="*/ 39 h 265"/>
                <a:gd name="T10" fmla="*/ 177 w 265"/>
                <a:gd name="T11" fmla="*/ 8 h 265"/>
                <a:gd name="T12" fmla="*/ 147 w 265"/>
                <a:gd name="T13" fmla="*/ 25 h 265"/>
                <a:gd name="T14" fmla="*/ 126 w 265"/>
                <a:gd name="T15" fmla="*/ 0 h 265"/>
                <a:gd name="T16" fmla="*/ 105 w 265"/>
                <a:gd name="T17" fmla="*/ 27 h 265"/>
                <a:gd name="T18" fmla="*/ 76 w 265"/>
                <a:gd name="T19" fmla="*/ 13 h 265"/>
                <a:gd name="T20" fmla="*/ 66 w 265"/>
                <a:gd name="T21" fmla="*/ 46 h 265"/>
                <a:gd name="T22" fmla="*/ 34 w 265"/>
                <a:gd name="T23" fmla="*/ 44 h 265"/>
                <a:gd name="T24" fmla="*/ 38 w 265"/>
                <a:gd name="T25" fmla="*/ 77 h 265"/>
                <a:gd name="T26" fmla="*/ 8 w 265"/>
                <a:gd name="T27" fmla="*/ 88 h 265"/>
                <a:gd name="T28" fmla="*/ 24 w 265"/>
                <a:gd name="T29" fmla="*/ 118 h 265"/>
                <a:gd name="T30" fmla="*/ 0 w 265"/>
                <a:gd name="T31" fmla="*/ 140 h 265"/>
                <a:gd name="T32" fmla="*/ 27 w 265"/>
                <a:gd name="T33" fmla="*/ 160 h 265"/>
                <a:gd name="T34" fmla="*/ 12 w 265"/>
                <a:gd name="T35" fmla="*/ 189 h 265"/>
                <a:gd name="T36" fmla="*/ 46 w 265"/>
                <a:gd name="T37" fmla="*/ 199 h 265"/>
                <a:gd name="T38" fmla="*/ 43 w 265"/>
                <a:gd name="T39" fmla="*/ 231 h 265"/>
                <a:gd name="T40" fmla="*/ 77 w 265"/>
                <a:gd name="T41" fmla="*/ 227 h 265"/>
                <a:gd name="T42" fmla="*/ 87 w 265"/>
                <a:gd name="T43" fmla="*/ 258 h 265"/>
                <a:gd name="T44" fmla="*/ 118 w 265"/>
                <a:gd name="T45" fmla="*/ 241 h 265"/>
                <a:gd name="T46" fmla="*/ 139 w 265"/>
                <a:gd name="T47" fmla="*/ 265 h 265"/>
                <a:gd name="T48" fmla="*/ 160 w 265"/>
                <a:gd name="T49" fmla="*/ 239 h 265"/>
                <a:gd name="T50" fmla="*/ 189 w 265"/>
                <a:gd name="T51" fmla="*/ 253 h 265"/>
                <a:gd name="T52" fmla="*/ 198 w 265"/>
                <a:gd name="T53" fmla="*/ 220 h 265"/>
                <a:gd name="T54" fmla="*/ 231 w 265"/>
                <a:gd name="T55" fmla="*/ 222 h 265"/>
                <a:gd name="T56" fmla="*/ 226 w 265"/>
                <a:gd name="T57" fmla="*/ 188 h 265"/>
                <a:gd name="T58" fmla="*/ 257 w 265"/>
                <a:gd name="T59" fmla="*/ 178 h 265"/>
                <a:gd name="T60" fmla="*/ 241 w 265"/>
                <a:gd name="T61" fmla="*/ 148 h 265"/>
                <a:gd name="T62" fmla="*/ 265 w 265"/>
                <a:gd name="T63" fmla="*/ 126 h 265"/>
                <a:gd name="T64" fmla="*/ 204 w 265"/>
                <a:gd name="T65" fmla="*/ 158 h 265"/>
                <a:gd name="T66" fmla="*/ 204 w 265"/>
                <a:gd name="T67" fmla="*/ 108 h 265"/>
                <a:gd name="T68" fmla="*/ 214 w 265"/>
                <a:gd name="T69" fmla="*/ 154 h 265"/>
                <a:gd name="T70" fmla="*/ 163 w 265"/>
                <a:gd name="T71" fmla="*/ 109 h 265"/>
                <a:gd name="T72" fmla="*/ 175 w 265"/>
                <a:gd name="T73" fmla="*/ 60 h 265"/>
                <a:gd name="T74" fmla="*/ 111 w 265"/>
                <a:gd name="T75" fmla="*/ 50 h 265"/>
                <a:gd name="T76" fmla="*/ 158 w 265"/>
                <a:gd name="T77" fmla="*/ 60 h 265"/>
                <a:gd name="T78" fmla="*/ 107 w 265"/>
                <a:gd name="T79" fmla="*/ 60 h 265"/>
                <a:gd name="T80" fmla="*/ 132 w 265"/>
                <a:gd name="T81" fmla="*/ 154 h 265"/>
                <a:gd name="T82" fmla="*/ 153 w 265"/>
                <a:gd name="T83" fmla="*/ 133 h 265"/>
                <a:gd name="T84" fmla="*/ 108 w 265"/>
                <a:gd name="T85" fmla="*/ 101 h 265"/>
                <a:gd name="T86" fmla="*/ 59 w 265"/>
                <a:gd name="T87" fmla="*/ 89 h 265"/>
                <a:gd name="T88" fmla="*/ 50 w 265"/>
                <a:gd name="T89" fmla="*/ 153 h 265"/>
                <a:gd name="T90" fmla="*/ 60 w 265"/>
                <a:gd name="T91" fmla="*/ 107 h 265"/>
                <a:gd name="T92" fmla="*/ 60 w 265"/>
                <a:gd name="T93" fmla="*/ 157 h 265"/>
                <a:gd name="T94" fmla="*/ 63 w 265"/>
                <a:gd name="T95" fmla="*/ 165 h 265"/>
                <a:gd name="T96" fmla="*/ 98 w 265"/>
                <a:gd name="T97" fmla="*/ 201 h 265"/>
                <a:gd name="T98" fmla="*/ 58 w 265"/>
                <a:gd name="T99" fmla="*/ 175 h 265"/>
                <a:gd name="T100" fmla="*/ 110 w 265"/>
                <a:gd name="T101" fmla="*/ 214 h 265"/>
                <a:gd name="T102" fmla="*/ 136 w 265"/>
                <a:gd name="T103" fmla="*/ 171 h 265"/>
                <a:gd name="T104" fmla="*/ 174 w 265"/>
                <a:gd name="T105" fmla="*/ 206 h 265"/>
                <a:gd name="T106" fmla="*/ 162 w 265"/>
                <a:gd name="T107" fmla="*/ 157 h 265"/>
                <a:gd name="T108" fmla="*/ 192 w 265"/>
                <a:gd name="T109" fmla="*/ 193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5" h="265">
                  <a:moveTo>
                    <a:pt x="260" y="121"/>
                  </a:moveTo>
                  <a:cubicBezTo>
                    <a:pt x="241" y="118"/>
                    <a:pt x="241" y="118"/>
                    <a:pt x="241" y="118"/>
                  </a:cubicBezTo>
                  <a:cubicBezTo>
                    <a:pt x="240" y="114"/>
                    <a:pt x="239" y="110"/>
                    <a:pt x="238" y="106"/>
                  </a:cubicBezTo>
                  <a:cubicBezTo>
                    <a:pt x="255" y="95"/>
                    <a:pt x="255" y="95"/>
                    <a:pt x="255" y="95"/>
                  </a:cubicBezTo>
                  <a:cubicBezTo>
                    <a:pt x="258" y="94"/>
                    <a:pt x="259" y="91"/>
                    <a:pt x="258" y="89"/>
                  </a:cubicBezTo>
                  <a:cubicBezTo>
                    <a:pt x="253" y="77"/>
                    <a:pt x="253" y="77"/>
                    <a:pt x="253" y="77"/>
                  </a:cubicBezTo>
                  <a:cubicBezTo>
                    <a:pt x="252" y="74"/>
                    <a:pt x="249" y="73"/>
                    <a:pt x="246" y="74"/>
                  </a:cubicBezTo>
                  <a:cubicBezTo>
                    <a:pt x="227" y="78"/>
                    <a:pt x="227" y="78"/>
                    <a:pt x="227" y="78"/>
                  </a:cubicBezTo>
                  <a:cubicBezTo>
                    <a:pt x="225" y="74"/>
                    <a:pt x="222" y="71"/>
                    <a:pt x="219" y="67"/>
                  </a:cubicBezTo>
                  <a:cubicBezTo>
                    <a:pt x="231" y="51"/>
                    <a:pt x="231" y="51"/>
                    <a:pt x="231" y="51"/>
                  </a:cubicBezTo>
                  <a:cubicBezTo>
                    <a:pt x="233" y="49"/>
                    <a:pt x="233" y="46"/>
                    <a:pt x="231" y="44"/>
                  </a:cubicBezTo>
                  <a:cubicBezTo>
                    <a:pt x="221" y="34"/>
                    <a:pt x="221" y="34"/>
                    <a:pt x="221" y="34"/>
                  </a:cubicBezTo>
                  <a:cubicBezTo>
                    <a:pt x="220" y="33"/>
                    <a:pt x="217" y="33"/>
                    <a:pt x="215" y="34"/>
                  </a:cubicBezTo>
                  <a:cubicBezTo>
                    <a:pt x="198" y="46"/>
                    <a:pt x="198" y="46"/>
                    <a:pt x="198" y="46"/>
                  </a:cubicBezTo>
                  <a:cubicBezTo>
                    <a:pt x="195" y="43"/>
                    <a:pt x="192" y="41"/>
                    <a:pt x="188" y="39"/>
                  </a:cubicBezTo>
                  <a:cubicBezTo>
                    <a:pt x="193" y="19"/>
                    <a:pt x="193" y="19"/>
                    <a:pt x="193" y="19"/>
                  </a:cubicBezTo>
                  <a:cubicBezTo>
                    <a:pt x="193" y="17"/>
                    <a:pt x="192" y="14"/>
                    <a:pt x="190" y="13"/>
                  </a:cubicBezTo>
                  <a:cubicBezTo>
                    <a:pt x="177" y="8"/>
                    <a:pt x="177" y="8"/>
                    <a:pt x="177" y="8"/>
                  </a:cubicBezTo>
                  <a:cubicBezTo>
                    <a:pt x="175" y="7"/>
                    <a:pt x="172" y="8"/>
                    <a:pt x="171" y="10"/>
                  </a:cubicBezTo>
                  <a:cubicBezTo>
                    <a:pt x="161" y="28"/>
                    <a:pt x="161" y="28"/>
                    <a:pt x="161" y="28"/>
                  </a:cubicBezTo>
                  <a:cubicBezTo>
                    <a:pt x="156" y="26"/>
                    <a:pt x="152" y="25"/>
                    <a:pt x="147" y="2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2"/>
                    <a:pt x="142" y="0"/>
                    <a:pt x="139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2"/>
                    <a:pt x="121" y="5"/>
                  </a:cubicBezTo>
                  <a:cubicBezTo>
                    <a:pt x="118" y="25"/>
                    <a:pt x="118" y="25"/>
                    <a:pt x="118" y="25"/>
                  </a:cubicBezTo>
                  <a:cubicBezTo>
                    <a:pt x="113" y="25"/>
                    <a:pt x="109" y="26"/>
                    <a:pt x="105" y="27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4" y="8"/>
                    <a:pt x="91" y="7"/>
                    <a:pt x="88" y="8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4" y="14"/>
                    <a:pt x="72" y="16"/>
                    <a:pt x="73" y="19"/>
                  </a:cubicBezTo>
                  <a:cubicBezTo>
                    <a:pt x="78" y="38"/>
                    <a:pt x="78" y="38"/>
                    <a:pt x="78" y="38"/>
                  </a:cubicBezTo>
                  <a:cubicBezTo>
                    <a:pt x="74" y="41"/>
                    <a:pt x="70" y="43"/>
                    <a:pt x="66" y="46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48" y="33"/>
                    <a:pt x="45" y="33"/>
                    <a:pt x="43" y="3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2" y="46"/>
                    <a:pt x="32" y="49"/>
                    <a:pt x="33" y="5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3" y="70"/>
                    <a:pt x="41" y="74"/>
                    <a:pt x="38" y="77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6" y="72"/>
                    <a:pt x="14" y="73"/>
                    <a:pt x="13" y="75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7" y="90"/>
                    <a:pt x="8" y="93"/>
                    <a:pt x="10" y="94"/>
                  </a:cubicBezTo>
                  <a:cubicBezTo>
                    <a:pt x="27" y="105"/>
                    <a:pt x="27" y="105"/>
                    <a:pt x="27" y="105"/>
                  </a:cubicBezTo>
                  <a:cubicBezTo>
                    <a:pt x="26" y="109"/>
                    <a:pt x="25" y="114"/>
                    <a:pt x="24" y="118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2" y="121"/>
                    <a:pt x="0" y="124"/>
                    <a:pt x="0" y="126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2"/>
                    <a:pt x="2" y="144"/>
                    <a:pt x="4" y="145"/>
                  </a:cubicBezTo>
                  <a:cubicBezTo>
                    <a:pt x="24" y="148"/>
                    <a:pt x="24" y="148"/>
                    <a:pt x="24" y="148"/>
                  </a:cubicBezTo>
                  <a:cubicBezTo>
                    <a:pt x="25" y="152"/>
                    <a:pt x="26" y="156"/>
                    <a:pt x="27" y="160"/>
                  </a:cubicBezTo>
                  <a:cubicBezTo>
                    <a:pt x="9" y="170"/>
                    <a:pt x="9" y="170"/>
                    <a:pt x="9" y="170"/>
                  </a:cubicBezTo>
                  <a:cubicBezTo>
                    <a:pt x="7" y="172"/>
                    <a:pt x="6" y="175"/>
                    <a:pt x="7" y="177"/>
                  </a:cubicBezTo>
                  <a:cubicBezTo>
                    <a:pt x="12" y="189"/>
                    <a:pt x="12" y="189"/>
                    <a:pt x="12" y="189"/>
                  </a:cubicBezTo>
                  <a:cubicBezTo>
                    <a:pt x="13" y="192"/>
                    <a:pt x="16" y="193"/>
                    <a:pt x="18" y="192"/>
                  </a:cubicBezTo>
                  <a:cubicBezTo>
                    <a:pt x="38" y="187"/>
                    <a:pt x="38" y="187"/>
                    <a:pt x="38" y="187"/>
                  </a:cubicBezTo>
                  <a:cubicBezTo>
                    <a:pt x="40" y="191"/>
                    <a:pt x="43" y="195"/>
                    <a:pt x="46" y="199"/>
                  </a:cubicBezTo>
                  <a:cubicBezTo>
                    <a:pt x="33" y="215"/>
                    <a:pt x="33" y="215"/>
                    <a:pt x="33" y="215"/>
                  </a:cubicBezTo>
                  <a:cubicBezTo>
                    <a:pt x="32" y="217"/>
                    <a:pt x="32" y="220"/>
                    <a:pt x="34" y="222"/>
                  </a:cubicBezTo>
                  <a:cubicBezTo>
                    <a:pt x="43" y="231"/>
                    <a:pt x="43" y="231"/>
                    <a:pt x="43" y="231"/>
                  </a:cubicBezTo>
                  <a:cubicBezTo>
                    <a:pt x="45" y="233"/>
                    <a:pt x="48" y="233"/>
                    <a:pt x="50" y="232"/>
                  </a:cubicBezTo>
                  <a:cubicBezTo>
                    <a:pt x="66" y="220"/>
                    <a:pt x="66" y="220"/>
                    <a:pt x="66" y="220"/>
                  </a:cubicBezTo>
                  <a:cubicBezTo>
                    <a:pt x="70" y="222"/>
                    <a:pt x="73" y="225"/>
                    <a:pt x="77" y="227"/>
                  </a:cubicBezTo>
                  <a:cubicBezTo>
                    <a:pt x="72" y="246"/>
                    <a:pt x="72" y="246"/>
                    <a:pt x="72" y="246"/>
                  </a:cubicBezTo>
                  <a:cubicBezTo>
                    <a:pt x="71" y="249"/>
                    <a:pt x="73" y="252"/>
                    <a:pt x="75" y="253"/>
                  </a:cubicBezTo>
                  <a:cubicBezTo>
                    <a:pt x="87" y="258"/>
                    <a:pt x="87" y="258"/>
                    <a:pt x="87" y="258"/>
                  </a:cubicBezTo>
                  <a:cubicBezTo>
                    <a:pt x="90" y="259"/>
                    <a:pt x="92" y="258"/>
                    <a:pt x="94" y="256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8" y="240"/>
                    <a:pt x="113" y="240"/>
                    <a:pt x="118" y="241"/>
                  </a:cubicBezTo>
                  <a:cubicBezTo>
                    <a:pt x="121" y="261"/>
                    <a:pt x="121" y="261"/>
                    <a:pt x="121" y="261"/>
                  </a:cubicBezTo>
                  <a:cubicBezTo>
                    <a:pt x="121" y="263"/>
                    <a:pt x="123" y="265"/>
                    <a:pt x="126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42" y="265"/>
                    <a:pt x="144" y="263"/>
                    <a:pt x="144" y="261"/>
                  </a:cubicBezTo>
                  <a:cubicBezTo>
                    <a:pt x="147" y="241"/>
                    <a:pt x="147" y="241"/>
                    <a:pt x="147" y="241"/>
                  </a:cubicBezTo>
                  <a:cubicBezTo>
                    <a:pt x="151" y="240"/>
                    <a:pt x="156" y="240"/>
                    <a:pt x="160" y="239"/>
                  </a:cubicBezTo>
                  <a:cubicBezTo>
                    <a:pt x="170" y="256"/>
                    <a:pt x="170" y="256"/>
                    <a:pt x="170" y="256"/>
                  </a:cubicBezTo>
                  <a:cubicBezTo>
                    <a:pt x="171" y="258"/>
                    <a:pt x="174" y="259"/>
                    <a:pt x="176" y="258"/>
                  </a:cubicBezTo>
                  <a:cubicBezTo>
                    <a:pt x="189" y="253"/>
                    <a:pt x="189" y="253"/>
                    <a:pt x="189" y="253"/>
                  </a:cubicBezTo>
                  <a:cubicBezTo>
                    <a:pt x="191" y="252"/>
                    <a:pt x="192" y="249"/>
                    <a:pt x="192" y="247"/>
                  </a:cubicBezTo>
                  <a:cubicBezTo>
                    <a:pt x="187" y="227"/>
                    <a:pt x="187" y="227"/>
                    <a:pt x="187" y="227"/>
                  </a:cubicBezTo>
                  <a:cubicBezTo>
                    <a:pt x="191" y="225"/>
                    <a:pt x="195" y="223"/>
                    <a:pt x="198" y="220"/>
                  </a:cubicBezTo>
                  <a:cubicBezTo>
                    <a:pt x="215" y="232"/>
                    <a:pt x="215" y="232"/>
                    <a:pt x="215" y="232"/>
                  </a:cubicBezTo>
                  <a:cubicBezTo>
                    <a:pt x="217" y="233"/>
                    <a:pt x="220" y="233"/>
                    <a:pt x="221" y="231"/>
                  </a:cubicBezTo>
                  <a:cubicBezTo>
                    <a:pt x="231" y="222"/>
                    <a:pt x="231" y="222"/>
                    <a:pt x="231" y="222"/>
                  </a:cubicBezTo>
                  <a:cubicBezTo>
                    <a:pt x="233" y="220"/>
                    <a:pt x="233" y="217"/>
                    <a:pt x="231" y="215"/>
                  </a:cubicBezTo>
                  <a:cubicBezTo>
                    <a:pt x="219" y="199"/>
                    <a:pt x="219" y="199"/>
                    <a:pt x="219" y="199"/>
                  </a:cubicBezTo>
                  <a:cubicBezTo>
                    <a:pt x="222" y="196"/>
                    <a:pt x="224" y="192"/>
                    <a:pt x="226" y="188"/>
                  </a:cubicBezTo>
                  <a:cubicBezTo>
                    <a:pt x="246" y="193"/>
                    <a:pt x="246" y="193"/>
                    <a:pt x="246" y="193"/>
                  </a:cubicBezTo>
                  <a:cubicBezTo>
                    <a:pt x="248" y="194"/>
                    <a:pt x="251" y="193"/>
                    <a:pt x="252" y="190"/>
                  </a:cubicBezTo>
                  <a:cubicBezTo>
                    <a:pt x="257" y="178"/>
                    <a:pt x="257" y="178"/>
                    <a:pt x="257" y="178"/>
                  </a:cubicBezTo>
                  <a:cubicBezTo>
                    <a:pt x="258" y="176"/>
                    <a:pt x="257" y="173"/>
                    <a:pt x="255" y="172"/>
                  </a:cubicBezTo>
                  <a:cubicBezTo>
                    <a:pt x="238" y="161"/>
                    <a:pt x="238" y="161"/>
                    <a:pt x="238" y="161"/>
                  </a:cubicBezTo>
                  <a:cubicBezTo>
                    <a:pt x="239" y="157"/>
                    <a:pt x="240" y="152"/>
                    <a:pt x="241" y="148"/>
                  </a:cubicBezTo>
                  <a:cubicBezTo>
                    <a:pt x="260" y="145"/>
                    <a:pt x="260" y="145"/>
                    <a:pt x="260" y="145"/>
                  </a:cubicBezTo>
                  <a:cubicBezTo>
                    <a:pt x="263" y="144"/>
                    <a:pt x="265" y="142"/>
                    <a:pt x="265" y="140"/>
                  </a:cubicBezTo>
                  <a:cubicBezTo>
                    <a:pt x="265" y="126"/>
                    <a:pt x="265" y="126"/>
                    <a:pt x="265" y="126"/>
                  </a:cubicBezTo>
                  <a:cubicBezTo>
                    <a:pt x="265" y="124"/>
                    <a:pt x="263" y="121"/>
                    <a:pt x="260" y="121"/>
                  </a:cubicBezTo>
                  <a:close/>
                  <a:moveTo>
                    <a:pt x="214" y="154"/>
                  </a:moveTo>
                  <a:cubicBezTo>
                    <a:pt x="213" y="159"/>
                    <a:pt x="208" y="161"/>
                    <a:pt x="204" y="15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5"/>
                    <a:pt x="166" y="131"/>
                    <a:pt x="170" y="128"/>
                  </a:cubicBezTo>
                  <a:cubicBezTo>
                    <a:pt x="204" y="108"/>
                    <a:pt x="204" y="108"/>
                    <a:pt x="204" y="108"/>
                  </a:cubicBezTo>
                  <a:cubicBezTo>
                    <a:pt x="208" y="105"/>
                    <a:pt x="213" y="107"/>
                    <a:pt x="214" y="112"/>
                  </a:cubicBezTo>
                  <a:cubicBezTo>
                    <a:pt x="214" y="112"/>
                    <a:pt x="217" y="122"/>
                    <a:pt x="217" y="133"/>
                  </a:cubicBezTo>
                  <a:cubicBezTo>
                    <a:pt x="217" y="143"/>
                    <a:pt x="214" y="154"/>
                    <a:pt x="214" y="154"/>
                  </a:cubicBezTo>
                  <a:close/>
                  <a:moveTo>
                    <a:pt x="205" y="90"/>
                  </a:moveTo>
                  <a:cubicBezTo>
                    <a:pt x="208" y="94"/>
                    <a:pt x="206" y="99"/>
                    <a:pt x="201" y="100"/>
                  </a:cubicBezTo>
                  <a:cubicBezTo>
                    <a:pt x="163" y="109"/>
                    <a:pt x="163" y="109"/>
                    <a:pt x="163" y="109"/>
                  </a:cubicBezTo>
                  <a:cubicBezTo>
                    <a:pt x="158" y="110"/>
                    <a:pt x="155" y="107"/>
                    <a:pt x="156" y="102"/>
                  </a:cubicBezTo>
                  <a:cubicBezTo>
                    <a:pt x="165" y="64"/>
                    <a:pt x="165" y="64"/>
                    <a:pt x="165" y="64"/>
                  </a:cubicBezTo>
                  <a:cubicBezTo>
                    <a:pt x="166" y="59"/>
                    <a:pt x="171" y="57"/>
                    <a:pt x="175" y="60"/>
                  </a:cubicBezTo>
                  <a:cubicBezTo>
                    <a:pt x="175" y="60"/>
                    <a:pt x="185" y="65"/>
                    <a:pt x="192" y="73"/>
                  </a:cubicBezTo>
                  <a:cubicBezTo>
                    <a:pt x="200" y="80"/>
                    <a:pt x="205" y="90"/>
                    <a:pt x="205" y="90"/>
                  </a:cubicBezTo>
                  <a:close/>
                  <a:moveTo>
                    <a:pt x="111" y="50"/>
                  </a:moveTo>
                  <a:cubicBezTo>
                    <a:pt x="111" y="50"/>
                    <a:pt x="122" y="47"/>
                    <a:pt x="132" y="47"/>
                  </a:cubicBezTo>
                  <a:cubicBezTo>
                    <a:pt x="143" y="47"/>
                    <a:pt x="154" y="50"/>
                    <a:pt x="154" y="50"/>
                  </a:cubicBezTo>
                  <a:cubicBezTo>
                    <a:pt x="158" y="52"/>
                    <a:pt x="160" y="56"/>
                    <a:pt x="158" y="60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4" y="98"/>
                    <a:pt x="130" y="98"/>
                    <a:pt x="128" y="94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5" y="56"/>
                    <a:pt x="106" y="52"/>
                    <a:pt x="111" y="50"/>
                  </a:cubicBezTo>
                  <a:close/>
                  <a:moveTo>
                    <a:pt x="153" y="133"/>
                  </a:moveTo>
                  <a:cubicBezTo>
                    <a:pt x="153" y="144"/>
                    <a:pt x="144" y="154"/>
                    <a:pt x="132" y="154"/>
                  </a:cubicBezTo>
                  <a:cubicBezTo>
                    <a:pt x="121" y="154"/>
                    <a:pt x="112" y="144"/>
                    <a:pt x="112" y="133"/>
                  </a:cubicBezTo>
                  <a:cubicBezTo>
                    <a:pt x="112" y="121"/>
                    <a:pt x="121" y="112"/>
                    <a:pt x="132" y="112"/>
                  </a:cubicBezTo>
                  <a:cubicBezTo>
                    <a:pt x="144" y="112"/>
                    <a:pt x="153" y="121"/>
                    <a:pt x="153" y="133"/>
                  </a:cubicBezTo>
                  <a:close/>
                  <a:moveTo>
                    <a:pt x="89" y="59"/>
                  </a:moveTo>
                  <a:cubicBezTo>
                    <a:pt x="94" y="56"/>
                    <a:pt x="98" y="58"/>
                    <a:pt x="99" y="63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9" y="106"/>
                    <a:pt x="107" y="109"/>
                    <a:pt x="102" y="108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59" y="98"/>
                    <a:pt x="57" y="93"/>
                    <a:pt x="59" y="89"/>
                  </a:cubicBezTo>
                  <a:cubicBezTo>
                    <a:pt x="59" y="89"/>
                    <a:pt x="65" y="79"/>
                    <a:pt x="72" y="72"/>
                  </a:cubicBezTo>
                  <a:cubicBezTo>
                    <a:pt x="80" y="64"/>
                    <a:pt x="89" y="59"/>
                    <a:pt x="89" y="59"/>
                  </a:cubicBezTo>
                  <a:close/>
                  <a:moveTo>
                    <a:pt x="50" y="153"/>
                  </a:moveTo>
                  <a:cubicBezTo>
                    <a:pt x="50" y="153"/>
                    <a:pt x="47" y="142"/>
                    <a:pt x="47" y="132"/>
                  </a:cubicBezTo>
                  <a:cubicBezTo>
                    <a:pt x="47" y="121"/>
                    <a:pt x="50" y="110"/>
                    <a:pt x="50" y="110"/>
                  </a:cubicBezTo>
                  <a:cubicBezTo>
                    <a:pt x="51" y="106"/>
                    <a:pt x="56" y="104"/>
                    <a:pt x="60" y="107"/>
                  </a:cubicBezTo>
                  <a:cubicBezTo>
                    <a:pt x="93" y="127"/>
                    <a:pt x="93" y="127"/>
                    <a:pt x="93" y="127"/>
                  </a:cubicBezTo>
                  <a:cubicBezTo>
                    <a:pt x="98" y="130"/>
                    <a:pt x="98" y="134"/>
                    <a:pt x="93" y="136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56" y="160"/>
                    <a:pt x="51" y="158"/>
                    <a:pt x="50" y="153"/>
                  </a:cubicBezTo>
                  <a:close/>
                  <a:moveTo>
                    <a:pt x="58" y="175"/>
                  </a:moveTo>
                  <a:cubicBezTo>
                    <a:pt x="56" y="171"/>
                    <a:pt x="58" y="166"/>
                    <a:pt x="63" y="165"/>
                  </a:cubicBezTo>
                  <a:cubicBezTo>
                    <a:pt x="101" y="156"/>
                    <a:pt x="101" y="156"/>
                    <a:pt x="101" y="156"/>
                  </a:cubicBezTo>
                  <a:cubicBezTo>
                    <a:pt x="106" y="155"/>
                    <a:pt x="109" y="158"/>
                    <a:pt x="108" y="162"/>
                  </a:cubicBezTo>
                  <a:cubicBezTo>
                    <a:pt x="98" y="201"/>
                    <a:pt x="98" y="201"/>
                    <a:pt x="98" y="201"/>
                  </a:cubicBezTo>
                  <a:cubicBezTo>
                    <a:pt x="97" y="206"/>
                    <a:pt x="93" y="207"/>
                    <a:pt x="89" y="205"/>
                  </a:cubicBezTo>
                  <a:cubicBezTo>
                    <a:pt x="89" y="205"/>
                    <a:pt x="79" y="200"/>
                    <a:pt x="71" y="192"/>
                  </a:cubicBezTo>
                  <a:cubicBezTo>
                    <a:pt x="64" y="185"/>
                    <a:pt x="58" y="175"/>
                    <a:pt x="58" y="175"/>
                  </a:cubicBezTo>
                  <a:close/>
                  <a:moveTo>
                    <a:pt x="153" y="214"/>
                  </a:moveTo>
                  <a:cubicBezTo>
                    <a:pt x="153" y="214"/>
                    <a:pt x="142" y="217"/>
                    <a:pt x="131" y="217"/>
                  </a:cubicBezTo>
                  <a:cubicBezTo>
                    <a:pt x="121" y="217"/>
                    <a:pt x="110" y="214"/>
                    <a:pt x="110" y="214"/>
                  </a:cubicBezTo>
                  <a:cubicBezTo>
                    <a:pt x="105" y="213"/>
                    <a:pt x="103" y="209"/>
                    <a:pt x="106" y="204"/>
                  </a:cubicBezTo>
                  <a:cubicBezTo>
                    <a:pt x="127" y="171"/>
                    <a:pt x="127" y="171"/>
                    <a:pt x="127" y="171"/>
                  </a:cubicBezTo>
                  <a:cubicBezTo>
                    <a:pt x="129" y="167"/>
                    <a:pt x="133" y="167"/>
                    <a:pt x="136" y="171"/>
                  </a:cubicBezTo>
                  <a:cubicBezTo>
                    <a:pt x="157" y="204"/>
                    <a:pt x="157" y="204"/>
                    <a:pt x="157" y="204"/>
                  </a:cubicBezTo>
                  <a:cubicBezTo>
                    <a:pt x="159" y="209"/>
                    <a:pt x="157" y="213"/>
                    <a:pt x="153" y="214"/>
                  </a:cubicBezTo>
                  <a:close/>
                  <a:moveTo>
                    <a:pt x="174" y="206"/>
                  </a:moveTo>
                  <a:cubicBezTo>
                    <a:pt x="170" y="208"/>
                    <a:pt x="166" y="206"/>
                    <a:pt x="164" y="202"/>
                  </a:cubicBezTo>
                  <a:cubicBezTo>
                    <a:pt x="155" y="163"/>
                    <a:pt x="155" y="163"/>
                    <a:pt x="155" y="163"/>
                  </a:cubicBezTo>
                  <a:cubicBezTo>
                    <a:pt x="154" y="158"/>
                    <a:pt x="157" y="155"/>
                    <a:pt x="162" y="157"/>
                  </a:cubicBezTo>
                  <a:cubicBezTo>
                    <a:pt x="200" y="166"/>
                    <a:pt x="200" y="166"/>
                    <a:pt x="200" y="166"/>
                  </a:cubicBezTo>
                  <a:cubicBezTo>
                    <a:pt x="205" y="167"/>
                    <a:pt x="207" y="171"/>
                    <a:pt x="205" y="176"/>
                  </a:cubicBezTo>
                  <a:cubicBezTo>
                    <a:pt x="205" y="176"/>
                    <a:pt x="199" y="185"/>
                    <a:pt x="192" y="193"/>
                  </a:cubicBezTo>
                  <a:cubicBezTo>
                    <a:pt x="184" y="200"/>
                    <a:pt x="174" y="206"/>
                    <a:pt x="174" y="206"/>
                  </a:cubicBezTo>
                  <a:close/>
                </a:path>
              </a:pathLst>
            </a:custGeom>
            <a:noFill/>
            <a:ln w="25400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8"/>
            <p:cNvSpPr>
              <a:spLocks noEditPoints="1"/>
            </p:cNvSpPr>
            <p:nvPr/>
          </p:nvSpPr>
          <p:spPr bwMode="auto">
            <a:xfrm rot="4923953">
              <a:off x="3927202" y="2779366"/>
              <a:ext cx="462372" cy="464744"/>
            </a:xfrm>
            <a:custGeom>
              <a:avLst/>
              <a:gdLst>
                <a:gd name="T0" fmla="*/ 118 w 122"/>
                <a:gd name="T1" fmla="*/ 74 h 122"/>
                <a:gd name="T2" fmla="*/ 102 w 122"/>
                <a:gd name="T3" fmla="*/ 64 h 122"/>
                <a:gd name="T4" fmla="*/ 102 w 122"/>
                <a:gd name="T5" fmla="*/ 64 h 122"/>
                <a:gd name="T6" fmla="*/ 101 w 122"/>
                <a:gd name="T7" fmla="*/ 54 h 122"/>
                <a:gd name="T8" fmla="*/ 101 w 122"/>
                <a:gd name="T9" fmla="*/ 53 h 122"/>
                <a:gd name="T10" fmla="*/ 116 w 122"/>
                <a:gd name="T11" fmla="*/ 41 h 122"/>
                <a:gd name="T12" fmla="*/ 118 w 122"/>
                <a:gd name="T13" fmla="*/ 34 h 122"/>
                <a:gd name="T14" fmla="*/ 111 w 122"/>
                <a:gd name="T15" fmla="*/ 30 h 122"/>
                <a:gd name="T16" fmla="*/ 92 w 122"/>
                <a:gd name="T17" fmla="*/ 34 h 122"/>
                <a:gd name="T18" fmla="*/ 92 w 122"/>
                <a:gd name="T19" fmla="*/ 35 h 122"/>
                <a:gd name="T20" fmla="*/ 84 w 122"/>
                <a:gd name="T21" fmla="*/ 28 h 122"/>
                <a:gd name="T22" fmla="*/ 84 w 122"/>
                <a:gd name="T23" fmla="*/ 27 h 122"/>
                <a:gd name="T24" fmla="*/ 86 w 122"/>
                <a:gd name="T25" fmla="*/ 8 h 122"/>
                <a:gd name="T26" fmla="*/ 82 w 122"/>
                <a:gd name="T27" fmla="*/ 1 h 122"/>
                <a:gd name="T28" fmla="*/ 74 w 122"/>
                <a:gd name="T29" fmla="*/ 4 h 122"/>
                <a:gd name="T30" fmla="*/ 64 w 122"/>
                <a:gd name="T31" fmla="*/ 20 h 122"/>
                <a:gd name="T32" fmla="*/ 64 w 122"/>
                <a:gd name="T33" fmla="*/ 21 h 122"/>
                <a:gd name="T34" fmla="*/ 53 w 122"/>
                <a:gd name="T35" fmla="*/ 21 h 122"/>
                <a:gd name="T36" fmla="*/ 53 w 122"/>
                <a:gd name="T37" fmla="*/ 21 h 122"/>
                <a:gd name="T38" fmla="*/ 41 w 122"/>
                <a:gd name="T39" fmla="*/ 6 h 122"/>
                <a:gd name="T40" fmla="*/ 33 w 122"/>
                <a:gd name="T41" fmla="*/ 4 h 122"/>
                <a:gd name="T42" fmla="*/ 30 w 122"/>
                <a:gd name="T43" fmla="*/ 12 h 122"/>
                <a:gd name="T44" fmla="*/ 34 w 122"/>
                <a:gd name="T45" fmla="*/ 30 h 122"/>
                <a:gd name="T46" fmla="*/ 34 w 122"/>
                <a:gd name="T47" fmla="*/ 30 h 122"/>
                <a:gd name="T48" fmla="*/ 27 w 122"/>
                <a:gd name="T49" fmla="*/ 38 h 122"/>
                <a:gd name="T50" fmla="*/ 27 w 122"/>
                <a:gd name="T51" fmla="*/ 38 h 122"/>
                <a:gd name="T52" fmla="*/ 8 w 122"/>
                <a:gd name="T53" fmla="*/ 36 h 122"/>
                <a:gd name="T54" fmla="*/ 1 w 122"/>
                <a:gd name="T55" fmla="*/ 40 h 122"/>
                <a:gd name="T56" fmla="*/ 4 w 122"/>
                <a:gd name="T57" fmla="*/ 48 h 122"/>
                <a:gd name="T58" fmla="*/ 20 w 122"/>
                <a:gd name="T59" fmla="*/ 58 h 122"/>
                <a:gd name="T60" fmla="*/ 21 w 122"/>
                <a:gd name="T61" fmla="*/ 69 h 122"/>
                <a:gd name="T62" fmla="*/ 6 w 122"/>
                <a:gd name="T63" fmla="*/ 81 h 122"/>
                <a:gd name="T64" fmla="*/ 4 w 122"/>
                <a:gd name="T65" fmla="*/ 89 h 122"/>
                <a:gd name="T66" fmla="*/ 11 w 122"/>
                <a:gd name="T67" fmla="*/ 92 h 122"/>
                <a:gd name="T68" fmla="*/ 30 w 122"/>
                <a:gd name="T69" fmla="*/ 88 h 122"/>
                <a:gd name="T70" fmla="*/ 38 w 122"/>
                <a:gd name="T71" fmla="*/ 96 h 122"/>
                <a:gd name="T72" fmla="*/ 36 w 122"/>
                <a:gd name="T73" fmla="*/ 114 h 122"/>
                <a:gd name="T74" fmla="*/ 40 w 122"/>
                <a:gd name="T75" fmla="*/ 121 h 122"/>
                <a:gd name="T76" fmla="*/ 48 w 122"/>
                <a:gd name="T77" fmla="*/ 118 h 122"/>
                <a:gd name="T78" fmla="*/ 58 w 122"/>
                <a:gd name="T79" fmla="*/ 102 h 122"/>
                <a:gd name="T80" fmla="*/ 69 w 122"/>
                <a:gd name="T81" fmla="*/ 102 h 122"/>
                <a:gd name="T82" fmla="*/ 81 w 122"/>
                <a:gd name="T83" fmla="*/ 116 h 122"/>
                <a:gd name="T84" fmla="*/ 89 w 122"/>
                <a:gd name="T85" fmla="*/ 118 h 122"/>
                <a:gd name="T86" fmla="*/ 92 w 122"/>
                <a:gd name="T87" fmla="*/ 111 h 122"/>
                <a:gd name="T88" fmla="*/ 88 w 122"/>
                <a:gd name="T89" fmla="*/ 92 h 122"/>
                <a:gd name="T90" fmla="*/ 95 w 122"/>
                <a:gd name="T91" fmla="*/ 84 h 122"/>
                <a:gd name="T92" fmla="*/ 114 w 122"/>
                <a:gd name="T93" fmla="*/ 86 h 122"/>
                <a:gd name="T94" fmla="*/ 121 w 122"/>
                <a:gd name="T95" fmla="*/ 82 h 122"/>
                <a:gd name="T96" fmla="*/ 118 w 122"/>
                <a:gd name="T97" fmla="*/ 74 h 122"/>
                <a:gd name="T98" fmla="*/ 52 w 122"/>
                <a:gd name="T99" fmla="*/ 86 h 122"/>
                <a:gd name="T100" fmla="*/ 36 w 122"/>
                <a:gd name="T101" fmla="*/ 53 h 122"/>
                <a:gd name="T102" fmla="*/ 69 w 122"/>
                <a:gd name="T103" fmla="*/ 37 h 122"/>
                <a:gd name="T104" fmla="*/ 86 w 122"/>
                <a:gd name="T105" fmla="*/ 70 h 122"/>
                <a:gd name="T106" fmla="*/ 52 w 122"/>
                <a:gd name="T107" fmla="*/ 86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2" h="122">
                  <a:moveTo>
                    <a:pt x="118" y="74"/>
                  </a:moveTo>
                  <a:cubicBezTo>
                    <a:pt x="102" y="64"/>
                    <a:pt x="102" y="64"/>
                    <a:pt x="102" y="64"/>
                  </a:cubicBezTo>
                  <a:cubicBezTo>
                    <a:pt x="102" y="64"/>
                    <a:pt x="102" y="64"/>
                    <a:pt x="102" y="64"/>
                  </a:cubicBezTo>
                  <a:cubicBezTo>
                    <a:pt x="102" y="61"/>
                    <a:pt x="102" y="57"/>
                    <a:pt x="101" y="54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8" y="40"/>
                    <a:pt x="119" y="36"/>
                    <a:pt x="118" y="34"/>
                  </a:cubicBezTo>
                  <a:cubicBezTo>
                    <a:pt x="117" y="31"/>
                    <a:pt x="113" y="29"/>
                    <a:pt x="111" y="3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5"/>
                    <a:pt x="92" y="35"/>
                  </a:cubicBezTo>
                  <a:cubicBezTo>
                    <a:pt x="89" y="32"/>
                    <a:pt x="87" y="30"/>
                    <a:pt x="84" y="28"/>
                  </a:cubicBezTo>
                  <a:cubicBezTo>
                    <a:pt x="84" y="28"/>
                    <a:pt x="84" y="27"/>
                    <a:pt x="84" y="27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6" y="5"/>
                    <a:pt x="84" y="2"/>
                    <a:pt x="82" y="1"/>
                  </a:cubicBezTo>
                  <a:cubicBezTo>
                    <a:pt x="79" y="0"/>
                    <a:pt x="76" y="2"/>
                    <a:pt x="74" y="4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0" y="21"/>
                    <a:pt x="57" y="21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0" y="4"/>
                    <a:pt x="36" y="3"/>
                    <a:pt x="33" y="4"/>
                  </a:cubicBezTo>
                  <a:cubicBezTo>
                    <a:pt x="31" y="6"/>
                    <a:pt x="29" y="9"/>
                    <a:pt x="30" y="12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2" y="33"/>
                    <a:pt x="29" y="35"/>
                    <a:pt x="27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5" y="36"/>
                    <a:pt x="2" y="38"/>
                    <a:pt x="1" y="40"/>
                  </a:cubicBezTo>
                  <a:cubicBezTo>
                    <a:pt x="0" y="43"/>
                    <a:pt x="2" y="47"/>
                    <a:pt x="4" y="4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6"/>
                    <a:pt x="21" y="69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4" y="83"/>
                    <a:pt x="3" y="86"/>
                    <a:pt x="4" y="89"/>
                  </a:cubicBezTo>
                  <a:cubicBezTo>
                    <a:pt x="5" y="91"/>
                    <a:pt x="9" y="93"/>
                    <a:pt x="11" y="92"/>
                  </a:cubicBezTo>
                  <a:cubicBezTo>
                    <a:pt x="30" y="88"/>
                    <a:pt x="30" y="88"/>
                    <a:pt x="30" y="88"/>
                  </a:cubicBezTo>
                  <a:cubicBezTo>
                    <a:pt x="32" y="91"/>
                    <a:pt x="35" y="93"/>
                    <a:pt x="38" y="96"/>
                  </a:cubicBezTo>
                  <a:cubicBezTo>
                    <a:pt x="36" y="114"/>
                    <a:pt x="36" y="114"/>
                    <a:pt x="36" y="114"/>
                  </a:cubicBezTo>
                  <a:cubicBezTo>
                    <a:pt x="36" y="117"/>
                    <a:pt x="38" y="120"/>
                    <a:pt x="40" y="121"/>
                  </a:cubicBezTo>
                  <a:cubicBezTo>
                    <a:pt x="43" y="122"/>
                    <a:pt x="46" y="121"/>
                    <a:pt x="48" y="118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62" y="103"/>
                    <a:pt x="65" y="102"/>
                    <a:pt x="69" y="102"/>
                  </a:cubicBezTo>
                  <a:cubicBezTo>
                    <a:pt x="81" y="116"/>
                    <a:pt x="81" y="116"/>
                    <a:pt x="81" y="116"/>
                  </a:cubicBezTo>
                  <a:cubicBezTo>
                    <a:pt x="83" y="118"/>
                    <a:pt x="86" y="119"/>
                    <a:pt x="89" y="118"/>
                  </a:cubicBezTo>
                  <a:cubicBezTo>
                    <a:pt x="91" y="117"/>
                    <a:pt x="93" y="113"/>
                    <a:pt x="92" y="111"/>
                  </a:cubicBezTo>
                  <a:cubicBezTo>
                    <a:pt x="88" y="92"/>
                    <a:pt x="88" y="92"/>
                    <a:pt x="88" y="92"/>
                  </a:cubicBezTo>
                  <a:cubicBezTo>
                    <a:pt x="91" y="90"/>
                    <a:pt x="93" y="87"/>
                    <a:pt x="95" y="84"/>
                  </a:cubicBezTo>
                  <a:cubicBezTo>
                    <a:pt x="114" y="86"/>
                    <a:pt x="114" y="86"/>
                    <a:pt x="114" y="86"/>
                  </a:cubicBezTo>
                  <a:cubicBezTo>
                    <a:pt x="117" y="86"/>
                    <a:pt x="120" y="85"/>
                    <a:pt x="121" y="82"/>
                  </a:cubicBezTo>
                  <a:cubicBezTo>
                    <a:pt x="122" y="79"/>
                    <a:pt x="120" y="76"/>
                    <a:pt x="118" y="74"/>
                  </a:cubicBezTo>
                  <a:close/>
                  <a:moveTo>
                    <a:pt x="52" y="86"/>
                  </a:moveTo>
                  <a:cubicBezTo>
                    <a:pt x="39" y="82"/>
                    <a:pt x="31" y="67"/>
                    <a:pt x="36" y="53"/>
                  </a:cubicBezTo>
                  <a:cubicBezTo>
                    <a:pt x="41" y="39"/>
                    <a:pt x="56" y="32"/>
                    <a:pt x="69" y="37"/>
                  </a:cubicBezTo>
                  <a:cubicBezTo>
                    <a:pt x="83" y="41"/>
                    <a:pt x="90" y="56"/>
                    <a:pt x="86" y="70"/>
                  </a:cubicBezTo>
                  <a:cubicBezTo>
                    <a:pt x="81" y="84"/>
                    <a:pt x="66" y="91"/>
                    <a:pt x="52" y="86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2" name="Group 131"/>
            <p:cNvGrpSpPr/>
            <p:nvPr/>
          </p:nvGrpSpPr>
          <p:grpSpPr>
            <a:xfrm rot="4923953">
              <a:off x="4182911" y="3297939"/>
              <a:ext cx="754022" cy="765642"/>
              <a:chOff x="7596060" y="2683295"/>
              <a:chExt cx="754022" cy="765642"/>
            </a:xfrm>
          </p:grpSpPr>
          <p:sp>
            <p:nvSpPr>
              <p:cNvPr id="133" name="Freeform 188"/>
              <p:cNvSpPr>
                <a:spLocks/>
              </p:cNvSpPr>
              <p:nvPr/>
            </p:nvSpPr>
            <p:spPr bwMode="auto">
              <a:xfrm rot="10800000">
                <a:off x="7596060" y="2683295"/>
                <a:ext cx="754022" cy="765642"/>
              </a:xfrm>
              <a:custGeom>
                <a:avLst/>
                <a:gdLst>
                  <a:gd name="connsiteX0" fmla="*/ 372934 w 754022"/>
                  <a:gd name="connsiteY0" fmla="*/ 593009 h 765642"/>
                  <a:gd name="connsiteX1" fmla="*/ 590541 w 754022"/>
                  <a:gd name="connsiteY1" fmla="*/ 375402 h 765642"/>
                  <a:gd name="connsiteX2" fmla="*/ 372934 w 754022"/>
                  <a:gd name="connsiteY2" fmla="*/ 157795 h 765642"/>
                  <a:gd name="connsiteX3" fmla="*/ 155327 w 754022"/>
                  <a:gd name="connsiteY3" fmla="*/ 375402 h 765642"/>
                  <a:gd name="connsiteX4" fmla="*/ 372934 w 754022"/>
                  <a:gd name="connsiteY4" fmla="*/ 593009 h 765642"/>
                  <a:gd name="connsiteX5" fmla="*/ 411225 w 754022"/>
                  <a:gd name="connsiteY5" fmla="*/ 764901 h 765642"/>
                  <a:gd name="connsiteX6" fmla="*/ 403603 w 754022"/>
                  <a:gd name="connsiteY6" fmla="*/ 764901 h 765642"/>
                  <a:gd name="connsiteX7" fmla="*/ 373117 w 754022"/>
                  <a:gd name="connsiteY7" fmla="*/ 741964 h 765642"/>
                  <a:gd name="connsiteX8" fmla="*/ 348477 w 754022"/>
                  <a:gd name="connsiteY8" fmla="*/ 625432 h 765642"/>
                  <a:gd name="connsiteX9" fmla="*/ 338783 w 754022"/>
                  <a:gd name="connsiteY9" fmla="*/ 644817 h 765642"/>
                  <a:gd name="connsiteX10" fmla="*/ 300660 w 754022"/>
                  <a:gd name="connsiteY10" fmla="*/ 721064 h 765642"/>
                  <a:gd name="connsiteX11" fmla="*/ 262721 w 754022"/>
                  <a:gd name="connsiteY11" fmla="*/ 740033 h 765642"/>
                  <a:gd name="connsiteX12" fmla="*/ 258928 w 754022"/>
                  <a:gd name="connsiteY12" fmla="*/ 736239 h 765642"/>
                  <a:gd name="connsiteX13" fmla="*/ 236165 w 754022"/>
                  <a:gd name="connsiteY13" fmla="*/ 702095 h 765642"/>
                  <a:gd name="connsiteX14" fmla="*/ 255946 w 754022"/>
                  <a:gd name="connsiteY14" fmla="*/ 593299 h 765642"/>
                  <a:gd name="connsiteX15" fmla="*/ 239113 w 754022"/>
                  <a:gd name="connsiteY15" fmla="*/ 607947 h 765642"/>
                  <a:gd name="connsiteX16" fmla="*/ 175032 w 754022"/>
                  <a:gd name="connsiteY16" fmla="*/ 663713 h 765642"/>
                  <a:gd name="connsiteX17" fmla="*/ 150641 w 754022"/>
                  <a:gd name="connsiteY17" fmla="*/ 672226 h 765642"/>
                  <a:gd name="connsiteX18" fmla="*/ 129118 w 754022"/>
                  <a:gd name="connsiteY18" fmla="*/ 663713 h 765642"/>
                  <a:gd name="connsiteX19" fmla="*/ 125292 w 754022"/>
                  <a:gd name="connsiteY19" fmla="*/ 659929 h 765642"/>
                  <a:gd name="connsiteX20" fmla="*/ 121466 w 754022"/>
                  <a:gd name="connsiteY20" fmla="*/ 618308 h 765642"/>
                  <a:gd name="connsiteX21" fmla="*/ 174667 w 754022"/>
                  <a:gd name="connsiteY21" fmla="*/ 536469 h 765642"/>
                  <a:gd name="connsiteX22" fmla="*/ 161474 w 754022"/>
                  <a:gd name="connsiteY22" fmla="*/ 541048 h 765642"/>
                  <a:gd name="connsiteX23" fmla="*/ 80144 w 754022"/>
                  <a:gd name="connsiteY23" fmla="*/ 569274 h 765642"/>
                  <a:gd name="connsiteX24" fmla="*/ 42206 w 754022"/>
                  <a:gd name="connsiteY24" fmla="*/ 550122 h 765642"/>
                  <a:gd name="connsiteX25" fmla="*/ 38412 w 754022"/>
                  <a:gd name="connsiteY25" fmla="*/ 546292 h 765642"/>
                  <a:gd name="connsiteX26" fmla="*/ 49793 w 754022"/>
                  <a:gd name="connsiteY26" fmla="*/ 504159 h 765642"/>
                  <a:gd name="connsiteX27" fmla="*/ 135432 w 754022"/>
                  <a:gd name="connsiteY27" fmla="*/ 445488 h 765642"/>
                  <a:gd name="connsiteX28" fmla="*/ 115096 w 754022"/>
                  <a:gd name="connsiteY28" fmla="*/ 443630 h 765642"/>
                  <a:gd name="connsiteX29" fmla="*/ 30583 w 754022"/>
                  <a:gd name="connsiteY29" fmla="*/ 435906 h 765642"/>
                  <a:gd name="connsiteX30" fmla="*/ 0 w 754022"/>
                  <a:gd name="connsiteY30" fmla="*/ 405163 h 765642"/>
                  <a:gd name="connsiteX31" fmla="*/ 0 w 754022"/>
                  <a:gd name="connsiteY31" fmla="*/ 401321 h 765642"/>
                  <a:gd name="connsiteX32" fmla="*/ 26760 w 754022"/>
                  <a:gd name="connsiteY32" fmla="*/ 366735 h 765642"/>
                  <a:gd name="connsiteX33" fmla="*/ 128494 w 754022"/>
                  <a:gd name="connsiteY33" fmla="*/ 345042 h 765642"/>
                  <a:gd name="connsiteX34" fmla="*/ 111350 w 754022"/>
                  <a:gd name="connsiteY34" fmla="*/ 337139 h 765642"/>
                  <a:gd name="connsiteX35" fmla="*/ 34730 w 754022"/>
                  <a:gd name="connsiteY35" fmla="*/ 301819 h 765642"/>
                  <a:gd name="connsiteX36" fmla="*/ 19480 w 754022"/>
                  <a:gd name="connsiteY36" fmla="*/ 260393 h 765642"/>
                  <a:gd name="connsiteX37" fmla="*/ 19480 w 754022"/>
                  <a:gd name="connsiteY37" fmla="*/ 256628 h 765642"/>
                  <a:gd name="connsiteX38" fmla="*/ 57604 w 754022"/>
                  <a:gd name="connsiteY38" fmla="*/ 234032 h 765642"/>
                  <a:gd name="connsiteX39" fmla="*/ 162370 w 754022"/>
                  <a:gd name="connsiteY39" fmla="*/ 252848 h 765642"/>
                  <a:gd name="connsiteX40" fmla="*/ 147735 w 754022"/>
                  <a:gd name="connsiteY40" fmla="*/ 236031 h 765642"/>
                  <a:gd name="connsiteX41" fmla="*/ 91970 w 754022"/>
                  <a:gd name="connsiteY41" fmla="*/ 171951 h 765642"/>
                  <a:gd name="connsiteX42" fmla="*/ 91970 w 754022"/>
                  <a:gd name="connsiteY42" fmla="*/ 129864 h 765642"/>
                  <a:gd name="connsiteX43" fmla="*/ 95754 w 754022"/>
                  <a:gd name="connsiteY43" fmla="*/ 126037 h 765642"/>
                  <a:gd name="connsiteX44" fmla="*/ 137375 w 754022"/>
                  <a:gd name="connsiteY44" fmla="*/ 118385 h 765642"/>
                  <a:gd name="connsiteX45" fmla="*/ 225152 w 754022"/>
                  <a:gd name="connsiteY45" fmla="*/ 178616 h 765642"/>
                  <a:gd name="connsiteX46" fmla="*/ 218652 w 754022"/>
                  <a:gd name="connsiteY46" fmla="*/ 159822 h 765642"/>
                  <a:gd name="connsiteX47" fmla="*/ 191063 w 754022"/>
                  <a:gd name="connsiteY47" fmla="*/ 80049 h 765642"/>
                  <a:gd name="connsiteX48" fmla="*/ 206038 w 754022"/>
                  <a:gd name="connsiteY48" fmla="*/ 37795 h 765642"/>
                  <a:gd name="connsiteX49" fmla="*/ 209782 w 754022"/>
                  <a:gd name="connsiteY49" fmla="*/ 37795 h 765642"/>
                  <a:gd name="connsiteX50" fmla="*/ 250965 w 754022"/>
                  <a:gd name="connsiteY50" fmla="*/ 49319 h 765642"/>
                  <a:gd name="connsiteX51" fmla="*/ 311795 w 754022"/>
                  <a:gd name="connsiteY51" fmla="*/ 138008 h 765642"/>
                  <a:gd name="connsiteX52" fmla="*/ 313134 w 754022"/>
                  <a:gd name="connsiteY52" fmla="*/ 115837 h 765642"/>
                  <a:gd name="connsiteX53" fmla="*/ 318240 w 754022"/>
                  <a:gd name="connsiteY53" fmla="*/ 31323 h 765642"/>
                  <a:gd name="connsiteX54" fmla="*/ 348727 w 754022"/>
                  <a:gd name="connsiteY54" fmla="*/ 741 h 765642"/>
                  <a:gd name="connsiteX55" fmla="*/ 356348 w 754022"/>
                  <a:gd name="connsiteY55" fmla="*/ 741 h 765642"/>
                  <a:gd name="connsiteX56" fmla="*/ 386834 w 754022"/>
                  <a:gd name="connsiteY56" fmla="*/ 23678 h 765642"/>
                  <a:gd name="connsiteX57" fmla="*/ 409047 w 754022"/>
                  <a:gd name="connsiteY57" fmla="*/ 128730 h 765642"/>
                  <a:gd name="connsiteX58" fmla="*/ 417610 w 754022"/>
                  <a:gd name="connsiteY58" fmla="*/ 111391 h 765642"/>
                  <a:gd name="connsiteX59" fmla="*/ 455733 w 754022"/>
                  <a:gd name="connsiteY59" fmla="*/ 34191 h 765642"/>
                  <a:gd name="connsiteX60" fmla="*/ 493672 w 754022"/>
                  <a:gd name="connsiteY60" fmla="*/ 14985 h 765642"/>
                  <a:gd name="connsiteX61" fmla="*/ 497465 w 754022"/>
                  <a:gd name="connsiteY61" fmla="*/ 18826 h 765642"/>
                  <a:gd name="connsiteX62" fmla="*/ 520228 w 754022"/>
                  <a:gd name="connsiteY62" fmla="*/ 53398 h 765642"/>
                  <a:gd name="connsiteX63" fmla="*/ 501369 w 754022"/>
                  <a:gd name="connsiteY63" fmla="*/ 158417 h 765642"/>
                  <a:gd name="connsiteX64" fmla="*/ 516674 w 754022"/>
                  <a:gd name="connsiteY64" fmla="*/ 145350 h 765642"/>
                  <a:gd name="connsiteX65" fmla="*/ 579852 w 754022"/>
                  <a:gd name="connsiteY65" fmla="*/ 91409 h 765642"/>
                  <a:gd name="connsiteX66" fmla="*/ 621347 w 754022"/>
                  <a:gd name="connsiteY66" fmla="*/ 91409 h 765642"/>
                  <a:gd name="connsiteX67" fmla="*/ 625119 w 754022"/>
                  <a:gd name="connsiteY67" fmla="*/ 95244 h 765642"/>
                  <a:gd name="connsiteX68" fmla="*/ 632664 w 754022"/>
                  <a:gd name="connsiteY68" fmla="*/ 137420 h 765642"/>
                  <a:gd name="connsiteX69" fmla="*/ 579905 w 754022"/>
                  <a:gd name="connsiteY69" fmla="*/ 220835 h 765642"/>
                  <a:gd name="connsiteX70" fmla="*/ 594618 w 754022"/>
                  <a:gd name="connsiteY70" fmla="*/ 215785 h 765642"/>
                  <a:gd name="connsiteX71" fmla="*/ 675533 w 754022"/>
                  <a:gd name="connsiteY71" fmla="*/ 188006 h 765642"/>
                  <a:gd name="connsiteX72" fmla="*/ 713277 w 754022"/>
                  <a:gd name="connsiteY72" fmla="*/ 206854 h 765642"/>
                  <a:gd name="connsiteX73" fmla="*/ 717052 w 754022"/>
                  <a:gd name="connsiteY73" fmla="*/ 210623 h 765642"/>
                  <a:gd name="connsiteX74" fmla="*/ 705728 w 754022"/>
                  <a:gd name="connsiteY74" fmla="*/ 252088 h 765642"/>
                  <a:gd name="connsiteX75" fmla="*/ 617547 w 754022"/>
                  <a:gd name="connsiteY75" fmla="*/ 311847 h 765642"/>
                  <a:gd name="connsiteX76" fmla="*/ 637854 w 754022"/>
                  <a:gd name="connsiteY76" fmla="*/ 313632 h 765642"/>
                  <a:gd name="connsiteX77" fmla="*/ 723826 w 754022"/>
                  <a:gd name="connsiteY77" fmla="*/ 321191 h 765642"/>
                  <a:gd name="connsiteX78" fmla="*/ 754022 w 754022"/>
                  <a:gd name="connsiteY78" fmla="*/ 351280 h 765642"/>
                  <a:gd name="connsiteX79" fmla="*/ 754022 w 754022"/>
                  <a:gd name="connsiteY79" fmla="*/ 355042 h 765642"/>
                  <a:gd name="connsiteX80" fmla="*/ 727601 w 754022"/>
                  <a:gd name="connsiteY80" fmla="*/ 388892 h 765642"/>
                  <a:gd name="connsiteX81" fmla="*/ 631627 w 754022"/>
                  <a:gd name="connsiteY81" fmla="*/ 409178 h 765642"/>
                  <a:gd name="connsiteX82" fmla="*/ 644580 w 754022"/>
                  <a:gd name="connsiteY82" fmla="*/ 415726 h 765642"/>
                  <a:gd name="connsiteX83" fmla="*/ 720827 w 754022"/>
                  <a:gd name="connsiteY83" fmla="*/ 454269 h 765642"/>
                  <a:gd name="connsiteX84" fmla="*/ 736002 w 754022"/>
                  <a:gd name="connsiteY84" fmla="*/ 492626 h 765642"/>
                  <a:gd name="connsiteX85" fmla="*/ 736002 w 754022"/>
                  <a:gd name="connsiteY85" fmla="*/ 500297 h 765642"/>
                  <a:gd name="connsiteX86" fmla="*/ 698064 w 754022"/>
                  <a:gd name="connsiteY86" fmla="*/ 519475 h 765642"/>
                  <a:gd name="connsiteX87" fmla="*/ 593629 w 754022"/>
                  <a:gd name="connsiteY87" fmla="*/ 503477 h 765642"/>
                  <a:gd name="connsiteX88" fmla="*/ 608049 w 754022"/>
                  <a:gd name="connsiteY88" fmla="*/ 519999 h 765642"/>
                  <a:gd name="connsiteX89" fmla="*/ 663507 w 754022"/>
                  <a:gd name="connsiteY89" fmla="*/ 583538 h 765642"/>
                  <a:gd name="connsiteX90" fmla="*/ 663507 w 754022"/>
                  <a:gd name="connsiteY90" fmla="*/ 625270 h 765642"/>
                  <a:gd name="connsiteX91" fmla="*/ 659745 w 754022"/>
                  <a:gd name="connsiteY91" fmla="*/ 629064 h 765642"/>
                  <a:gd name="connsiteX92" fmla="*/ 639049 w 754022"/>
                  <a:gd name="connsiteY92" fmla="*/ 639971 h 765642"/>
                  <a:gd name="connsiteX93" fmla="*/ 618353 w 754022"/>
                  <a:gd name="connsiteY93" fmla="*/ 636651 h 765642"/>
                  <a:gd name="connsiteX94" fmla="*/ 530372 w 754022"/>
                  <a:gd name="connsiteY94" fmla="*/ 576459 h 765642"/>
                  <a:gd name="connsiteX95" fmla="*/ 537526 w 754022"/>
                  <a:gd name="connsiteY95" fmla="*/ 596750 h 765642"/>
                  <a:gd name="connsiteX96" fmla="*/ 565304 w 754022"/>
                  <a:gd name="connsiteY96" fmla="*/ 675538 h 765642"/>
                  <a:gd name="connsiteX97" fmla="*/ 550226 w 754022"/>
                  <a:gd name="connsiteY97" fmla="*/ 713477 h 765642"/>
                  <a:gd name="connsiteX98" fmla="*/ 546456 w 754022"/>
                  <a:gd name="connsiteY98" fmla="*/ 717270 h 765642"/>
                  <a:gd name="connsiteX99" fmla="*/ 504992 w 754022"/>
                  <a:gd name="connsiteY99" fmla="*/ 705889 h 765642"/>
                  <a:gd name="connsiteX100" fmla="*/ 448325 w 754022"/>
                  <a:gd name="connsiteY100" fmla="*/ 624843 h 765642"/>
                  <a:gd name="connsiteX101" fmla="*/ 446817 w 754022"/>
                  <a:gd name="connsiteY101" fmla="*/ 649805 h 765642"/>
                  <a:gd name="connsiteX102" fmla="*/ 441711 w 754022"/>
                  <a:gd name="connsiteY102" fmla="*/ 734319 h 765642"/>
                  <a:gd name="connsiteX103" fmla="*/ 411225 w 754022"/>
                  <a:gd name="connsiteY103" fmla="*/ 764901 h 765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754022" h="765642">
                    <a:moveTo>
                      <a:pt x="372934" y="593009"/>
                    </a:moveTo>
                    <a:cubicBezTo>
                      <a:pt x="493115" y="593009"/>
                      <a:pt x="590541" y="495583"/>
                      <a:pt x="590541" y="375402"/>
                    </a:cubicBezTo>
                    <a:cubicBezTo>
                      <a:pt x="590541" y="255221"/>
                      <a:pt x="493115" y="157795"/>
                      <a:pt x="372934" y="157795"/>
                    </a:cubicBezTo>
                    <a:cubicBezTo>
                      <a:pt x="252753" y="157795"/>
                      <a:pt x="155327" y="255221"/>
                      <a:pt x="155327" y="375402"/>
                    </a:cubicBezTo>
                    <a:cubicBezTo>
                      <a:pt x="155327" y="495583"/>
                      <a:pt x="252753" y="593009"/>
                      <a:pt x="372934" y="593009"/>
                    </a:cubicBezTo>
                    <a:close/>
                    <a:moveTo>
                      <a:pt x="411225" y="764901"/>
                    </a:moveTo>
                    <a:cubicBezTo>
                      <a:pt x="403603" y="764901"/>
                      <a:pt x="403603" y="764901"/>
                      <a:pt x="403603" y="764901"/>
                    </a:cubicBezTo>
                    <a:cubicBezTo>
                      <a:pt x="388360" y="768724"/>
                      <a:pt x="373117" y="757256"/>
                      <a:pt x="373117" y="741964"/>
                    </a:cubicBezTo>
                    <a:lnTo>
                      <a:pt x="348477" y="625432"/>
                    </a:lnTo>
                    <a:lnTo>
                      <a:pt x="338783" y="644817"/>
                    </a:lnTo>
                    <a:cubicBezTo>
                      <a:pt x="300660" y="721064"/>
                      <a:pt x="300660" y="721064"/>
                      <a:pt x="300660" y="721064"/>
                    </a:cubicBezTo>
                    <a:cubicBezTo>
                      <a:pt x="293072" y="736239"/>
                      <a:pt x="277897" y="743827"/>
                      <a:pt x="262721" y="740033"/>
                    </a:cubicBezTo>
                    <a:cubicBezTo>
                      <a:pt x="258928" y="736239"/>
                      <a:pt x="258928" y="736239"/>
                      <a:pt x="258928" y="736239"/>
                    </a:cubicBezTo>
                    <a:cubicBezTo>
                      <a:pt x="243752" y="732446"/>
                      <a:pt x="232371" y="717270"/>
                      <a:pt x="236165" y="702095"/>
                    </a:cubicBezTo>
                    <a:lnTo>
                      <a:pt x="255946" y="593299"/>
                    </a:lnTo>
                    <a:lnTo>
                      <a:pt x="239113" y="607947"/>
                    </a:lnTo>
                    <a:cubicBezTo>
                      <a:pt x="175032" y="663713"/>
                      <a:pt x="175032" y="663713"/>
                      <a:pt x="175032" y="663713"/>
                    </a:cubicBezTo>
                    <a:cubicBezTo>
                      <a:pt x="167380" y="669388"/>
                      <a:pt x="158771" y="672226"/>
                      <a:pt x="150641" y="672226"/>
                    </a:cubicBezTo>
                    <a:cubicBezTo>
                      <a:pt x="142510" y="672226"/>
                      <a:pt x="134857" y="669388"/>
                      <a:pt x="129118" y="663713"/>
                    </a:cubicBezTo>
                    <a:cubicBezTo>
                      <a:pt x="125292" y="659929"/>
                      <a:pt x="125292" y="659929"/>
                      <a:pt x="125292" y="659929"/>
                    </a:cubicBezTo>
                    <a:cubicBezTo>
                      <a:pt x="113814" y="652362"/>
                      <a:pt x="113814" y="633443"/>
                      <a:pt x="121466" y="618308"/>
                    </a:cubicBezTo>
                    <a:lnTo>
                      <a:pt x="174667" y="536469"/>
                    </a:lnTo>
                    <a:lnTo>
                      <a:pt x="161474" y="541048"/>
                    </a:lnTo>
                    <a:cubicBezTo>
                      <a:pt x="80144" y="569274"/>
                      <a:pt x="80144" y="569274"/>
                      <a:pt x="80144" y="569274"/>
                    </a:cubicBezTo>
                    <a:cubicBezTo>
                      <a:pt x="64968" y="573104"/>
                      <a:pt x="49793" y="565443"/>
                      <a:pt x="42206" y="550122"/>
                    </a:cubicBezTo>
                    <a:cubicBezTo>
                      <a:pt x="38412" y="546292"/>
                      <a:pt x="38412" y="546292"/>
                      <a:pt x="38412" y="546292"/>
                    </a:cubicBezTo>
                    <a:cubicBezTo>
                      <a:pt x="30824" y="530971"/>
                      <a:pt x="38412" y="515650"/>
                      <a:pt x="49793" y="504159"/>
                    </a:cubicBezTo>
                    <a:lnTo>
                      <a:pt x="135432" y="445488"/>
                    </a:lnTo>
                    <a:lnTo>
                      <a:pt x="115096" y="443630"/>
                    </a:lnTo>
                    <a:cubicBezTo>
                      <a:pt x="30583" y="435906"/>
                      <a:pt x="30583" y="435906"/>
                      <a:pt x="30583" y="435906"/>
                    </a:cubicBezTo>
                    <a:cubicBezTo>
                      <a:pt x="15291" y="435906"/>
                      <a:pt x="0" y="420535"/>
                      <a:pt x="0" y="405163"/>
                    </a:cubicBezTo>
                    <a:cubicBezTo>
                      <a:pt x="0" y="401321"/>
                      <a:pt x="0" y="401321"/>
                      <a:pt x="0" y="401321"/>
                    </a:cubicBezTo>
                    <a:cubicBezTo>
                      <a:pt x="0" y="385949"/>
                      <a:pt x="11469" y="370578"/>
                      <a:pt x="26760" y="366735"/>
                    </a:cubicBezTo>
                    <a:lnTo>
                      <a:pt x="128494" y="345042"/>
                    </a:lnTo>
                    <a:lnTo>
                      <a:pt x="111350" y="337139"/>
                    </a:lnTo>
                    <a:cubicBezTo>
                      <a:pt x="34730" y="301819"/>
                      <a:pt x="34730" y="301819"/>
                      <a:pt x="34730" y="301819"/>
                    </a:cubicBezTo>
                    <a:cubicBezTo>
                      <a:pt x="19480" y="294287"/>
                      <a:pt x="11855" y="275457"/>
                      <a:pt x="19480" y="260393"/>
                    </a:cubicBezTo>
                    <a:cubicBezTo>
                      <a:pt x="19480" y="256628"/>
                      <a:pt x="19480" y="256628"/>
                      <a:pt x="19480" y="256628"/>
                    </a:cubicBezTo>
                    <a:cubicBezTo>
                      <a:pt x="23292" y="241564"/>
                      <a:pt x="42354" y="234032"/>
                      <a:pt x="57604" y="234032"/>
                    </a:cubicBezTo>
                    <a:lnTo>
                      <a:pt x="162370" y="252848"/>
                    </a:lnTo>
                    <a:lnTo>
                      <a:pt x="147735" y="236031"/>
                    </a:lnTo>
                    <a:cubicBezTo>
                      <a:pt x="91970" y="171951"/>
                      <a:pt x="91970" y="171951"/>
                      <a:pt x="91970" y="171951"/>
                    </a:cubicBezTo>
                    <a:cubicBezTo>
                      <a:pt x="80619" y="160473"/>
                      <a:pt x="84402" y="141342"/>
                      <a:pt x="91970" y="129864"/>
                    </a:cubicBezTo>
                    <a:cubicBezTo>
                      <a:pt x="95754" y="126037"/>
                      <a:pt x="95754" y="126037"/>
                      <a:pt x="95754" y="126037"/>
                    </a:cubicBezTo>
                    <a:cubicBezTo>
                      <a:pt x="107105" y="114559"/>
                      <a:pt x="126023" y="110733"/>
                      <a:pt x="137375" y="118385"/>
                    </a:cubicBezTo>
                    <a:lnTo>
                      <a:pt x="225152" y="178616"/>
                    </a:lnTo>
                    <a:lnTo>
                      <a:pt x="218652" y="159822"/>
                    </a:lnTo>
                    <a:cubicBezTo>
                      <a:pt x="191063" y="80049"/>
                      <a:pt x="191063" y="80049"/>
                      <a:pt x="191063" y="80049"/>
                    </a:cubicBezTo>
                    <a:cubicBezTo>
                      <a:pt x="187319" y="64684"/>
                      <a:pt x="191063" y="45478"/>
                      <a:pt x="206038" y="37795"/>
                    </a:cubicBezTo>
                    <a:cubicBezTo>
                      <a:pt x="209782" y="37795"/>
                      <a:pt x="209782" y="37795"/>
                      <a:pt x="209782" y="37795"/>
                    </a:cubicBezTo>
                    <a:cubicBezTo>
                      <a:pt x="224758" y="30113"/>
                      <a:pt x="243478" y="33954"/>
                      <a:pt x="250965" y="49319"/>
                    </a:cubicBezTo>
                    <a:lnTo>
                      <a:pt x="311795" y="138008"/>
                    </a:lnTo>
                    <a:lnTo>
                      <a:pt x="313134" y="115837"/>
                    </a:lnTo>
                    <a:cubicBezTo>
                      <a:pt x="318240" y="31323"/>
                      <a:pt x="318240" y="31323"/>
                      <a:pt x="318240" y="31323"/>
                    </a:cubicBezTo>
                    <a:cubicBezTo>
                      <a:pt x="322051" y="16032"/>
                      <a:pt x="333483" y="741"/>
                      <a:pt x="348727" y="741"/>
                    </a:cubicBezTo>
                    <a:cubicBezTo>
                      <a:pt x="356348" y="741"/>
                      <a:pt x="356348" y="741"/>
                      <a:pt x="356348" y="741"/>
                    </a:cubicBezTo>
                    <a:cubicBezTo>
                      <a:pt x="371591" y="-3082"/>
                      <a:pt x="386834" y="8386"/>
                      <a:pt x="386834" y="23678"/>
                    </a:cubicBezTo>
                    <a:lnTo>
                      <a:pt x="409047" y="128730"/>
                    </a:lnTo>
                    <a:lnTo>
                      <a:pt x="417610" y="111391"/>
                    </a:lnTo>
                    <a:cubicBezTo>
                      <a:pt x="455733" y="34191"/>
                      <a:pt x="455733" y="34191"/>
                      <a:pt x="455733" y="34191"/>
                    </a:cubicBezTo>
                    <a:cubicBezTo>
                      <a:pt x="463321" y="18826"/>
                      <a:pt x="478496" y="11144"/>
                      <a:pt x="493672" y="14985"/>
                    </a:cubicBezTo>
                    <a:cubicBezTo>
                      <a:pt x="497465" y="18826"/>
                      <a:pt x="497465" y="18826"/>
                      <a:pt x="497465" y="18826"/>
                    </a:cubicBezTo>
                    <a:cubicBezTo>
                      <a:pt x="512641" y="22668"/>
                      <a:pt x="524022" y="38033"/>
                      <a:pt x="520228" y="53398"/>
                    </a:cubicBezTo>
                    <a:lnTo>
                      <a:pt x="501369" y="158417"/>
                    </a:lnTo>
                    <a:lnTo>
                      <a:pt x="516674" y="145350"/>
                    </a:lnTo>
                    <a:cubicBezTo>
                      <a:pt x="579852" y="91409"/>
                      <a:pt x="579852" y="91409"/>
                      <a:pt x="579852" y="91409"/>
                    </a:cubicBezTo>
                    <a:cubicBezTo>
                      <a:pt x="591169" y="79907"/>
                      <a:pt x="610030" y="79907"/>
                      <a:pt x="621347" y="91409"/>
                    </a:cubicBezTo>
                    <a:cubicBezTo>
                      <a:pt x="625119" y="95244"/>
                      <a:pt x="625119" y="95244"/>
                      <a:pt x="625119" y="95244"/>
                    </a:cubicBezTo>
                    <a:cubicBezTo>
                      <a:pt x="640208" y="102912"/>
                      <a:pt x="640208" y="122083"/>
                      <a:pt x="632664" y="137420"/>
                    </a:cubicBezTo>
                    <a:lnTo>
                      <a:pt x="579905" y="220835"/>
                    </a:lnTo>
                    <a:lnTo>
                      <a:pt x="594618" y="215785"/>
                    </a:lnTo>
                    <a:cubicBezTo>
                      <a:pt x="675533" y="188006"/>
                      <a:pt x="675533" y="188006"/>
                      <a:pt x="675533" y="188006"/>
                    </a:cubicBezTo>
                    <a:cubicBezTo>
                      <a:pt x="690630" y="184237"/>
                      <a:pt x="705728" y="191776"/>
                      <a:pt x="713277" y="206854"/>
                    </a:cubicBezTo>
                    <a:cubicBezTo>
                      <a:pt x="717052" y="210623"/>
                      <a:pt x="717052" y="210623"/>
                      <a:pt x="717052" y="210623"/>
                    </a:cubicBezTo>
                    <a:cubicBezTo>
                      <a:pt x="720826" y="221932"/>
                      <a:pt x="717052" y="240780"/>
                      <a:pt x="705728" y="252088"/>
                    </a:cubicBezTo>
                    <a:lnTo>
                      <a:pt x="617547" y="311847"/>
                    </a:lnTo>
                    <a:lnTo>
                      <a:pt x="637854" y="313632"/>
                    </a:lnTo>
                    <a:cubicBezTo>
                      <a:pt x="723826" y="321191"/>
                      <a:pt x="723826" y="321191"/>
                      <a:pt x="723826" y="321191"/>
                    </a:cubicBezTo>
                    <a:cubicBezTo>
                      <a:pt x="738924" y="321191"/>
                      <a:pt x="750248" y="336236"/>
                      <a:pt x="754022" y="351280"/>
                    </a:cubicBezTo>
                    <a:cubicBezTo>
                      <a:pt x="754022" y="355042"/>
                      <a:pt x="754022" y="355042"/>
                      <a:pt x="754022" y="355042"/>
                    </a:cubicBezTo>
                    <a:cubicBezTo>
                      <a:pt x="754022" y="370086"/>
                      <a:pt x="742699" y="385131"/>
                      <a:pt x="727601" y="388892"/>
                    </a:cubicBezTo>
                    <a:lnTo>
                      <a:pt x="631627" y="409178"/>
                    </a:lnTo>
                    <a:lnTo>
                      <a:pt x="644580" y="415726"/>
                    </a:lnTo>
                    <a:cubicBezTo>
                      <a:pt x="720827" y="454269"/>
                      <a:pt x="720827" y="454269"/>
                      <a:pt x="720827" y="454269"/>
                    </a:cubicBezTo>
                    <a:cubicBezTo>
                      <a:pt x="732209" y="461941"/>
                      <a:pt x="739796" y="481119"/>
                      <a:pt x="736002" y="492626"/>
                    </a:cubicBezTo>
                    <a:cubicBezTo>
                      <a:pt x="736002" y="500297"/>
                      <a:pt x="736002" y="500297"/>
                      <a:pt x="736002" y="500297"/>
                    </a:cubicBezTo>
                    <a:cubicBezTo>
                      <a:pt x="728415" y="515640"/>
                      <a:pt x="713239" y="523311"/>
                      <a:pt x="698064" y="519475"/>
                    </a:cubicBezTo>
                    <a:lnTo>
                      <a:pt x="593629" y="503477"/>
                    </a:lnTo>
                    <a:lnTo>
                      <a:pt x="608049" y="519999"/>
                    </a:lnTo>
                    <a:cubicBezTo>
                      <a:pt x="663507" y="583538"/>
                      <a:pt x="663507" y="583538"/>
                      <a:pt x="663507" y="583538"/>
                    </a:cubicBezTo>
                    <a:cubicBezTo>
                      <a:pt x="671033" y="594919"/>
                      <a:pt x="671033" y="613889"/>
                      <a:pt x="663507" y="625270"/>
                    </a:cubicBezTo>
                    <a:cubicBezTo>
                      <a:pt x="659745" y="629064"/>
                      <a:pt x="659745" y="629064"/>
                      <a:pt x="659745" y="629064"/>
                    </a:cubicBezTo>
                    <a:cubicBezTo>
                      <a:pt x="654100" y="634755"/>
                      <a:pt x="646574" y="638548"/>
                      <a:pt x="639049" y="639971"/>
                    </a:cubicBezTo>
                    <a:cubicBezTo>
                      <a:pt x="631523" y="641394"/>
                      <a:pt x="623997" y="640445"/>
                      <a:pt x="618353" y="636651"/>
                    </a:cubicBezTo>
                    <a:lnTo>
                      <a:pt x="530372" y="576459"/>
                    </a:lnTo>
                    <a:lnTo>
                      <a:pt x="537526" y="596750"/>
                    </a:lnTo>
                    <a:cubicBezTo>
                      <a:pt x="565304" y="675538"/>
                      <a:pt x="565304" y="675538"/>
                      <a:pt x="565304" y="675538"/>
                    </a:cubicBezTo>
                    <a:cubicBezTo>
                      <a:pt x="569073" y="690714"/>
                      <a:pt x="561534" y="709683"/>
                      <a:pt x="550226" y="713477"/>
                    </a:cubicBezTo>
                    <a:cubicBezTo>
                      <a:pt x="546456" y="717270"/>
                      <a:pt x="546456" y="717270"/>
                      <a:pt x="546456" y="717270"/>
                    </a:cubicBezTo>
                    <a:cubicBezTo>
                      <a:pt x="531378" y="724858"/>
                      <a:pt x="512531" y="721064"/>
                      <a:pt x="504992" y="705889"/>
                    </a:cubicBezTo>
                    <a:lnTo>
                      <a:pt x="448325" y="624843"/>
                    </a:lnTo>
                    <a:lnTo>
                      <a:pt x="446817" y="649805"/>
                    </a:lnTo>
                    <a:cubicBezTo>
                      <a:pt x="441711" y="734319"/>
                      <a:pt x="441711" y="734319"/>
                      <a:pt x="441711" y="734319"/>
                    </a:cubicBezTo>
                    <a:cubicBezTo>
                      <a:pt x="437900" y="749610"/>
                      <a:pt x="426468" y="764901"/>
                      <a:pt x="411225" y="764901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Oval 133"/>
              <p:cNvSpPr/>
              <p:nvPr/>
            </p:nvSpPr>
            <p:spPr bwMode="auto">
              <a:xfrm>
                <a:off x="7866130" y="2966121"/>
                <a:ext cx="217444" cy="217444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9455404" y="1910167"/>
            <a:ext cx="2468880" cy="2468880"/>
            <a:chOff x="9178755" y="1910167"/>
            <a:chExt cx="2468880" cy="2468880"/>
          </a:xfrm>
        </p:grpSpPr>
        <p:sp>
          <p:nvSpPr>
            <p:cNvPr id="123" name="Oval 122"/>
            <p:cNvSpPr>
              <a:spLocks noChangeAspect="1"/>
            </p:cNvSpPr>
            <p:nvPr/>
          </p:nvSpPr>
          <p:spPr bwMode="auto">
            <a:xfrm>
              <a:off x="9178755" y="1910167"/>
              <a:ext cx="2468880" cy="2468880"/>
            </a:xfrm>
            <a:prstGeom prst="ellipse">
              <a:avLst/>
            </a:prstGeom>
            <a:noFill/>
            <a:ln w="254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28">
                <a:lnSpc>
                  <a:spcPct val="90000"/>
                </a:lnSpc>
              </a:pPr>
              <a:endParaRPr lang="en-US" sz="2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35" name="Group 134"/>
            <p:cNvGrpSpPr/>
            <p:nvPr/>
          </p:nvGrpSpPr>
          <p:grpSpPr>
            <a:xfrm>
              <a:off x="9438712" y="2766891"/>
              <a:ext cx="1885439" cy="851729"/>
              <a:chOff x="9438712" y="2766891"/>
              <a:chExt cx="1885439" cy="851729"/>
            </a:xfrm>
          </p:grpSpPr>
          <p:sp>
            <p:nvSpPr>
              <p:cNvPr id="136" name="Freeform 191"/>
              <p:cNvSpPr>
                <a:spLocks/>
              </p:cNvSpPr>
              <p:nvPr/>
            </p:nvSpPr>
            <p:spPr bwMode="auto">
              <a:xfrm>
                <a:off x="9438712" y="2766891"/>
                <a:ext cx="677168" cy="385350"/>
              </a:xfrm>
              <a:custGeom>
                <a:avLst/>
                <a:gdLst>
                  <a:gd name="T0" fmla="*/ 187 w 224"/>
                  <a:gd name="T1" fmla="*/ 53 h 126"/>
                  <a:gd name="T2" fmla="*/ 183 w 224"/>
                  <a:gd name="T3" fmla="*/ 53 h 126"/>
                  <a:gd name="T4" fmla="*/ 187 w 224"/>
                  <a:gd name="T5" fmla="*/ 37 h 126"/>
                  <a:gd name="T6" fmla="*/ 150 w 224"/>
                  <a:gd name="T7" fmla="*/ 0 h 126"/>
                  <a:gd name="T8" fmla="*/ 114 w 224"/>
                  <a:gd name="T9" fmla="*/ 32 h 126"/>
                  <a:gd name="T10" fmla="*/ 86 w 224"/>
                  <a:gd name="T11" fmla="*/ 20 h 126"/>
                  <a:gd name="T12" fmla="*/ 49 w 224"/>
                  <a:gd name="T13" fmla="*/ 55 h 126"/>
                  <a:gd name="T14" fmla="*/ 37 w 224"/>
                  <a:gd name="T15" fmla="*/ 53 h 126"/>
                  <a:gd name="T16" fmla="*/ 0 w 224"/>
                  <a:gd name="T17" fmla="*/ 90 h 126"/>
                  <a:gd name="T18" fmla="*/ 37 w 224"/>
                  <a:gd name="T19" fmla="*/ 126 h 126"/>
                  <a:gd name="T20" fmla="*/ 187 w 224"/>
                  <a:gd name="T21" fmla="*/ 126 h 126"/>
                  <a:gd name="T22" fmla="*/ 224 w 224"/>
                  <a:gd name="T23" fmla="*/ 90 h 126"/>
                  <a:gd name="T24" fmla="*/ 187 w 224"/>
                  <a:gd name="T25" fmla="*/ 5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4" h="126">
                    <a:moveTo>
                      <a:pt x="187" y="53"/>
                    </a:moveTo>
                    <a:cubicBezTo>
                      <a:pt x="186" y="53"/>
                      <a:pt x="184" y="53"/>
                      <a:pt x="183" y="53"/>
                    </a:cubicBezTo>
                    <a:cubicBezTo>
                      <a:pt x="185" y="48"/>
                      <a:pt x="187" y="42"/>
                      <a:pt x="187" y="37"/>
                    </a:cubicBezTo>
                    <a:cubicBezTo>
                      <a:pt x="187" y="16"/>
                      <a:pt x="170" y="0"/>
                      <a:pt x="150" y="0"/>
                    </a:cubicBezTo>
                    <a:cubicBezTo>
                      <a:pt x="131" y="0"/>
                      <a:pt x="116" y="14"/>
                      <a:pt x="114" y="32"/>
                    </a:cubicBezTo>
                    <a:cubicBezTo>
                      <a:pt x="107" y="25"/>
                      <a:pt x="97" y="20"/>
                      <a:pt x="86" y="20"/>
                    </a:cubicBezTo>
                    <a:cubicBezTo>
                      <a:pt x="67" y="20"/>
                      <a:pt x="50" y="36"/>
                      <a:pt x="49" y="55"/>
                    </a:cubicBezTo>
                    <a:cubicBezTo>
                      <a:pt x="45" y="54"/>
                      <a:pt x="41" y="53"/>
                      <a:pt x="37" y="53"/>
                    </a:cubicBezTo>
                    <a:cubicBezTo>
                      <a:pt x="16" y="53"/>
                      <a:pt x="0" y="69"/>
                      <a:pt x="0" y="90"/>
                    </a:cubicBezTo>
                    <a:cubicBezTo>
                      <a:pt x="0" y="110"/>
                      <a:pt x="16" y="126"/>
                      <a:pt x="37" y="126"/>
                    </a:cubicBezTo>
                    <a:cubicBezTo>
                      <a:pt x="187" y="126"/>
                      <a:pt x="187" y="126"/>
                      <a:pt x="187" y="126"/>
                    </a:cubicBezTo>
                    <a:cubicBezTo>
                      <a:pt x="207" y="126"/>
                      <a:pt x="224" y="110"/>
                      <a:pt x="224" y="90"/>
                    </a:cubicBezTo>
                    <a:cubicBezTo>
                      <a:pt x="224" y="69"/>
                      <a:pt x="207" y="53"/>
                      <a:pt x="187" y="53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37" name="Group 136"/>
              <p:cNvGrpSpPr/>
              <p:nvPr/>
            </p:nvGrpSpPr>
            <p:grpSpPr>
              <a:xfrm>
                <a:off x="9749426" y="2867133"/>
                <a:ext cx="371373" cy="678230"/>
                <a:chOff x="9682814" y="2923126"/>
                <a:chExt cx="371373" cy="678230"/>
              </a:xfrm>
            </p:grpSpPr>
            <p:sp>
              <p:nvSpPr>
                <p:cNvPr id="149" name="Flowchart: Magnetic Disk 148"/>
                <p:cNvSpPr/>
                <p:nvPr/>
              </p:nvSpPr>
              <p:spPr bwMode="auto">
                <a:xfrm>
                  <a:off x="9682814" y="3347930"/>
                  <a:ext cx="371373" cy="253426"/>
                </a:xfrm>
                <a:prstGeom prst="flowChartMagneticDisk">
                  <a:avLst/>
                </a:prstGeom>
                <a:solidFill>
                  <a:schemeClr val="bg1"/>
                </a:solidFill>
                <a:ln w="254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50" name="Flowchart: Magnetic Disk 149"/>
                <p:cNvSpPr/>
                <p:nvPr/>
              </p:nvSpPr>
              <p:spPr bwMode="auto">
                <a:xfrm>
                  <a:off x="9682814" y="3135528"/>
                  <a:ext cx="371373" cy="253426"/>
                </a:xfrm>
                <a:prstGeom prst="flowChartMagneticDisk">
                  <a:avLst/>
                </a:prstGeom>
                <a:solidFill>
                  <a:schemeClr val="bg1"/>
                </a:solidFill>
                <a:ln w="254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51" name="Flowchart: Magnetic Disk 150"/>
                <p:cNvSpPr/>
                <p:nvPr/>
              </p:nvSpPr>
              <p:spPr bwMode="auto">
                <a:xfrm>
                  <a:off x="9682814" y="2923126"/>
                  <a:ext cx="371373" cy="253426"/>
                </a:xfrm>
                <a:prstGeom prst="flowChartMagneticDisk">
                  <a:avLst/>
                </a:prstGeom>
                <a:solidFill>
                  <a:schemeClr val="bg1"/>
                </a:solidFill>
                <a:ln w="254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38" name="Group 137"/>
              <p:cNvGrpSpPr/>
              <p:nvPr/>
            </p:nvGrpSpPr>
            <p:grpSpPr>
              <a:xfrm>
                <a:off x="10175233" y="2870932"/>
                <a:ext cx="371373" cy="674431"/>
                <a:chOff x="9682814" y="2926925"/>
                <a:chExt cx="371373" cy="674431"/>
              </a:xfrm>
            </p:grpSpPr>
            <p:sp>
              <p:nvSpPr>
                <p:cNvPr id="146" name="Flowchart: Magnetic Disk 145"/>
                <p:cNvSpPr/>
                <p:nvPr/>
              </p:nvSpPr>
              <p:spPr bwMode="auto">
                <a:xfrm>
                  <a:off x="9682814" y="3347930"/>
                  <a:ext cx="371373" cy="253426"/>
                </a:xfrm>
                <a:prstGeom prst="flowChartMagneticDisk">
                  <a:avLst/>
                </a:prstGeom>
                <a:solidFill>
                  <a:schemeClr val="bg1"/>
                </a:solidFill>
                <a:ln w="254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47" name="Flowchart: Magnetic Disk 146"/>
                <p:cNvSpPr/>
                <p:nvPr/>
              </p:nvSpPr>
              <p:spPr bwMode="auto">
                <a:xfrm>
                  <a:off x="9682814" y="3137427"/>
                  <a:ext cx="371373" cy="253426"/>
                </a:xfrm>
                <a:prstGeom prst="flowChartMagneticDisk">
                  <a:avLst/>
                </a:prstGeom>
                <a:solidFill>
                  <a:schemeClr val="bg1"/>
                </a:solidFill>
                <a:ln w="254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48" name="Flowchart: Magnetic Disk 147"/>
                <p:cNvSpPr/>
                <p:nvPr/>
              </p:nvSpPr>
              <p:spPr bwMode="auto">
                <a:xfrm>
                  <a:off x="9682814" y="2926925"/>
                  <a:ext cx="371373" cy="253426"/>
                </a:xfrm>
                <a:prstGeom prst="flowChartMagneticDisk">
                  <a:avLst/>
                </a:prstGeom>
                <a:solidFill>
                  <a:schemeClr val="bg1"/>
                </a:solidFill>
                <a:ln w="254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39" name="Group 138"/>
              <p:cNvGrpSpPr/>
              <p:nvPr/>
            </p:nvGrpSpPr>
            <p:grpSpPr>
              <a:xfrm>
                <a:off x="10597162" y="2870932"/>
                <a:ext cx="371373" cy="674431"/>
                <a:chOff x="9682814" y="2926925"/>
                <a:chExt cx="371373" cy="674431"/>
              </a:xfrm>
            </p:grpSpPr>
            <p:sp>
              <p:nvSpPr>
                <p:cNvPr id="143" name="Flowchart: Magnetic Disk 142"/>
                <p:cNvSpPr/>
                <p:nvPr/>
              </p:nvSpPr>
              <p:spPr bwMode="auto">
                <a:xfrm>
                  <a:off x="9682814" y="3347930"/>
                  <a:ext cx="371373" cy="253426"/>
                </a:xfrm>
                <a:prstGeom prst="flowChartMagneticDisk">
                  <a:avLst/>
                </a:prstGeom>
                <a:solidFill>
                  <a:schemeClr val="bg1"/>
                </a:solidFill>
                <a:ln w="254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44" name="Flowchart: Magnetic Disk 143"/>
                <p:cNvSpPr/>
                <p:nvPr/>
              </p:nvSpPr>
              <p:spPr bwMode="auto">
                <a:xfrm>
                  <a:off x="9682814" y="3137427"/>
                  <a:ext cx="371373" cy="253426"/>
                </a:xfrm>
                <a:prstGeom prst="flowChartMagneticDisk">
                  <a:avLst/>
                </a:prstGeom>
                <a:solidFill>
                  <a:schemeClr val="bg1"/>
                </a:solidFill>
                <a:ln w="254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45" name="Flowchart: Magnetic Disk 144"/>
                <p:cNvSpPr/>
                <p:nvPr/>
              </p:nvSpPr>
              <p:spPr bwMode="auto">
                <a:xfrm>
                  <a:off x="9682814" y="2926925"/>
                  <a:ext cx="371373" cy="253426"/>
                </a:xfrm>
                <a:prstGeom prst="flowChartMagneticDisk">
                  <a:avLst/>
                </a:prstGeom>
                <a:solidFill>
                  <a:schemeClr val="bg1"/>
                </a:solidFill>
                <a:ln w="254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40" name="Freeform 9"/>
              <p:cNvSpPr>
                <a:spLocks/>
              </p:cNvSpPr>
              <p:nvPr/>
            </p:nvSpPr>
            <p:spPr bwMode="auto">
              <a:xfrm>
                <a:off x="9977921" y="3248719"/>
                <a:ext cx="336313" cy="180720"/>
              </a:xfrm>
              <a:custGeom>
                <a:avLst/>
                <a:gdLst>
                  <a:gd name="T0" fmla="*/ 210 w 242"/>
                  <a:gd name="T1" fmla="*/ 64 h 129"/>
                  <a:gd name="T2" fmla="*/ 209 w 242"/>
                  <a:gd name="T3" fmla="*/ 64 h 129"/>
                  <a:gd name="T4" fmla="*/ 144 w 242"/>
                  <a:gd name="T5" fmla="*/ 0 h 129"/>
                  <a:gd name="T6" fmla="*/ 80 w 242"/>
                  <a:gd name="T7" fmla="*/ 56 h 129"/>
                  <a:gd name="T8" fmla="*/ 45 w 242"/>
                  <a:gd name="T9" fmla="*/ 39 h 129"/>
                  <a:gd name="T10" fmla="*/ 0 w 242"/>
                  <a:gd name="T11" fmla="*/ 84 h 129"/>
                  <a:gd name="T12" fmla="*/ 45 w 242"/>
                  <a:gd name="T13" fmla="*/ 129 h 129"/>
                  <a:gd name="T14" fmla="*/ 210 w 242"/>
                  <a:gd name="T15" fmla="*/ 129 h 129"/>
                  <a:gd name="T16" fmla="*/ 242 w 242"/>
                  <a:gd name="T17" fmla="*/ 96 h 129"/>
                  <a:gd name="T18" fmla="*/ 210 w 242"/>
                  <a:gd name="T19" fmla="*/ 6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2" h="129">
                    <a:moveTo>
                      <a:pt x="210" y="64"/>
                    </a:moveTo>
                    <a:cubicBezTo>
                      <a:pt x="210" y="64"/>
                      <a:pt x="209" y="64"/>
                      <a:pt x="209" y="64"/>
                    </a:cubicBezTo>
                    <a:cubicBezTo>
                      <a:pt x="209" y="28"/>
                      <a:pt x="180" y="0"/>
                      <a:pt x="144" y="0"/>
                    </a:cubicBezTo>
                    <a:cubicBezTo>
                      <a:pt x="111" y="0"/>
                      <a:pt x="84" y="24"/>
                      <a:pt x="80" y="56"/>
                    </a:cubicBezTo>
                    <a:cubicBezTo>
                      <a:pt x="72" y="46"/>
                      <a:pt x="59" y="39"/>
                      <a:pt x="45" y="39"/>
                    </a:cubicBezTo>
                    <a:cubicBezTo>
                      <a:pt x="20" y="39"/>
                      <a:pt x="0" y="59"/>
                      <a:pt x="0" y="84"/>
                    </a:cubicBezTo>
                    <a:cubicBezTo>
                      <a:pt x="0" y="109"/>
                      <a:pt x="20" y="129"/>
                      <a:pt x="45" y="129"/>
                    </a:cubicBezTo>
                    <a:cubicBezTo>
                      <a:pt x="210" y="129"/>
                      <a:pt x="210" y="129"/>
                      <a:pt x="210" y="129"/>
                    </a:cubicBezTo>
                    <a:cubicBezTo>
                      <a:pt x="228" y="129"/>
                      <a:pt x="242" y="114"/>
                      <a:pt x="242" y="96"/>
                    </a:cubicBezTo>
                    <a:cubicBezTo>
                      <a:pt x="242" y="78"/>
                      <a:pt x="228" y="64"/>
                      <a:pt x="210" y="64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80"/>
              <p:cNvSpPr>
                <a:spLocks/>
              </p:cNvSpPr>
              <p:nvPr/>
            </p:nvSpPr>
            <p:spPr bwMode="auto">
              <a:xfrm>
                <a:off x="10396963" y="2902261"/>
                <a:ext cx="349843" cy="199082"/>
              </a:xfrm>
              <a:custGeom>
                <a:avLst/>
                <a:gdLst>
                  <a:gd name="T0" fmla="*/ 187 w 224"/>
                  <a:gd name="T1" fmla="*/ 53 h 126"/>
                  <a:gd name="T2" fmla="*/ 183 w 224"/>
                  <a:gd name="T3" fmla="*/ 53 h 126"/>
                  <a:gd name="T4" fmla="*/ 187 w 224"/>
                  <a:gd name="T5" fmla="*/ 37 h 126"/>
                  <a:gd name="T6" fmla="*/ 150 w 224"/>
                  <a:gd name="T7" fmla="*/ 0 h 126"/>
                  <a:gd name="T8" fmla="*/ 114 w 224"/>
                  <a:gd name="T9" fmla="*/ 32 h 126"/>
                  <a:gd name="T10" fmla="*/ 86 w 224"/>
                  <a:gd name="T11" fmla="*/ 20 h 126"/>
                  <a:gd name="T12" fmla="*/ 49 w 224"/>
                  <a:gd name="T13" fmla="*/ 55 h 126"/>
                  <a:gd name="T14" fmla="*/ 37 w 224"/>
                  <a:gd name="T15" fmla="*/ 53 h 126"/>
                  <a:gd name="T16" fmla="*/ 0 w 224"/>
                  <a:gd name="T17" fmla="*/ 90 h 126"/>
                  <a:gd name="T18" fmla="*/ 37 w 224"/>
                  <a:gd name="T19" fmla="*/ 126 h 126"/>
                  <a:gd name="T20" fmla="*/ 187 w 224"/>
                  <a:gd name="T21" fmla="*/ 126 h 126"/>
                  <a:gd name="T22" fmla="*/ 224 w 224"/>
                  <a:gd name="T23" fmla="*/ 90 h 126"/>
                  <a:gd name="T24" fmla="*/ 187 w 224"/>
                  <a:gd name="T25" fmla="*/ 5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4" h="126">
                    <a:moveTo>
                      <a:pt x="187" y="53"/>
                    </a:moveTo>
                    <a:cubicBezTo>
                      <a:pt x="186" y="53"/>
                      <a:pt x="184" y="53"/>
                      <a:pt x="183" y="53"/>
                    </a:cubicBezTo>
                    <a:cubicBezTo>
                      <a:pt x="185" y="48"/>
                      <a:pt x="187" y="42"/>
                      <a:pt x="187" y="37"/>
                    </a:cubicBezTo>
                    <a:cubicBezTo>
                      <a:pt x="187" y="16"/>
                      <a:pt x="170" y="0"/>
                      <a:pt x="150" y="0"/>
                    </a:cubicBezTo>
                    <a:cubicBezTo>
                      <a:pt x="131" y="0"/>
                      <a:pt x="116" y="14"/>
                      <a:pt x="114" y="32"/>
                    </a:cubicBezTo>
                    <a:cubicBezTo>
                      <a:pt x="107" y="25"/>
                      <a:pt x="97" y="20"/>
                      <a:pt x="86" y="20"/>
                    </a:cubicBezTo>
                    <a:cubicBezTo>
                      <a:pt x="67" y="20"/>
                      <a:pt x="50" y="36"/>
                      <a:pt x="49" y="55"/>
                    </a:cubicBezTo>
                    <a:cubicBezTo>
                      <a:pt x="45" y="54"/>
                      <a:pt x="41" y="53"/>
                      <a:pt x="37" y="53"/>
                    </a:cubicBezTo>
                    <a:cubicBezTo>
                      <a:pt x="16" y="53"/>
                      <a:pt x="0" y="69"/>
                      <a:pt x="0" y="90"/>
                    </a:cubicBezTo>
                    <a:cubicBezTo>
                      <a:pt x="0" y="110"/>
                      <a:pt x="16" y="126"/>
                      <a:pt x="37" y="126"/>
                    </a:cubicBezTo>
                    <a:cubicBezTo>
                      <a:pt x="187" y="126"/>
                      <a:pt x="187" y="126"/>
                      <a:pt x="187" y="126"/>
                    </a:cubicBezTo>
                    <a:cubicBezTo>
                      <a:pt x="207" y="126"/>
                      <a:pt x="224" y="110"/>
                      <a:pt x="224" y="90"/>
                    </a:cubicBezTo>
                    <a:cubicBezTo>
                      <a:pt x="224" y="69"/>
                      <a:pt x="207" y="53"/>
                      <a:pt x="187" y="53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90"/>
              <p:cNvSpPr>
                <a:spLocks/>
              </p:cNvSpPr>
              <p:nvPr/>
            </p:nvSpPr>
            <p:spPr bwMode="auto">
              <a:xfrm>
                <a:off x="10646983" y="3233270"/>
                <a:ext cx="677168" cy="385350"/>
              </a:xfrm>
              <a:custGeom>
                <a:avLst/>
                <a:gdLst>
                  <a:gd name="T0" fmla="*/ 187 w 224"/>
                  <a:gd name="T1" fmla="*/ 53 h 126"/>
                  <a:gd name="T2" fmla="*/ 183 w 224"/>
                  <a:gd name="T3" fmla="*/ 53 h 126"/>
                  <a:gd name="T4" fmla="*/ 187 w 224"/>
                  <a:gd name="T5" fmla="*/ 37 h 126"/>
                  <a:gd name="T6" fmla="*/ 150 w 224"/>
                  <a:gd name="T7" fmla="*/ 0 h 126"/>
                  <a:gd name="T8" fmla="*/ 114 w 224"/>
                  <a:gd name="T9" fmla="*/ 32 h 126"/>
                  <a:gd name="T10" fmla="*/ 86 w 224"/>
                  <a:gd name="T11" fmla="*/ 20 h 126"/>
                  <a:gd name="T12" fmla="*/ 49 w 224"/>
                  <a:gd name="T13" fmla="*/ 55 h 126"/>
                  <a:gd name="T14" fmla="*/ 37 w 224"/>
                  <a:gd name="T15" fmla="*/ 53 h 126"/>
                  <a:gd name="T16" fmla="*/ 0 w 224"/>
                  <a:gd name="T17" fmla="*/ 90 h 126"/>
                  <a:gd name="T18" fmla="*/ 37 w 224"/>
                  <a:gd name="T19" fmla="*/ 126 h 126"/>
                  <a:gd name="T20" fmla="*/ 187 w 224"/>
                  <a:gd name="T21" fmla="*/ 126 h 126"/>
                  <a:gd name="T22" fmla="*/ 224 w 224"/>
                  <a:gd name="T23" fmla="*/ 90 h 126"/>
                  <a:gd name="T24" fmla="*/ 187 w 224"/>
                  <a:gd name="T25" fmla="*/ 5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4" h="126">
                    <a:moveTo>
                      <a:pt x="187" y="53"/>
                    </a:moveTo>
                    <a:cubicBezTo>
                      <a:pt x="186" y="53"/>
                      <a:pt x="184" y="53"/>
                      <a:pt x="183" y="53"/>
                    </a:cubicBezTo>
                    <a:cubicBezTo>
                      <a:pt x="185" y="48"/>
                      <a:pt x="187" y="42"/>
                      <a:pt x="187" y="37"/>
                    </a:cubicBezTo>
                    <a:cubicBezTo>
                      <a:pt x="187" y="16"/>
                      <a:pt x="170" y="0"/>
                      <a:pt x="150" y="0"/>
                    </a:cubicBezTo>
                    <a:cubicBezTo>
                      <a:pt x="131" y="0"/>
                      <a:pt x="116" y="14"/>
                      <a:pt x="114" y="32"/>
                    </a:cubicBezTo>
                    <a:cubicBezTo>
                      <a:pt x="107" y="25"/>
                      <a:pt x="97" y="20"/>
                      <a:pt x="86" y="20"/>
                    </a:cubicBezTo>
                    <a:cubicBezTo>
                      <a:pt x="67" y="20"/>
                      <a:pt x="50" y="36"/>
                      <a:pt x="49" y="55"/>
                    </a:cubicBezTo>
                    <a:cubicBezTo>
                      <a:pt x="45" y="54"/>
                      <a:pt x="41" y="53"/>
                      <a:pt x="37" y="53"/>
                    </a:cubicBezTo>
                    <a:cubicBezTo>
                      <a:pt x="16" y="53"/>
                      <a:pt x="0" y="69"/>
                      <a:pt x="0" y="90"/>
                    </a:cubicBezTo>
                    <a:cubicBezTo>
                      <a:pt x="0" y="110"/>
                      <a:pt x="16" y="126"/>
                      <a:pt x="37" y="126"/>
                    </a:cubicBezTo>
                    <a:cubicBezTo>
                      <a:pt x="187" y="126"/>
                      <a:pt x="187" y="126"/>
                      <a:pt x="187" y="126"/>
                    </a:cubicBezTo>
                    <a:cubicBezTo>
                      <a:pt x="207" y="126"/>
                      <a:pt x="224" y="110"/>
                      <a:pt x="224" y="90"/>
                    </a:cubicBezTo>
                    <a:cubicBezTo>
                      <a:pt x="224" y="69"/>
                      <a:pt x="207" y="53"/>
                      <a:pt x="187" y="53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158776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crosoftML</a:t>
            </a:r>
          </a:p>
        </p:txBody>
      </p:sp>
    </p:spTree>
    <p:extLst>
      <p:ext uri="{BB962C8B-B14F-4D97-AF65-F5344CB8AC3E}">
        <p14:creationId xmlns:p14="http://schemas.microsoft.com/office/powerpoint/2010/main" val="293487934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crosoftML = Scalable R + world class ML</a:t>
            </a:r>
          </a:p>
        </p:txBody>
      </p:sp>
      <p:sp>
        <p:nvSpPr>
          <p:cNvPr id="3" name="Rectangle 2"/>
          <p:cNvSpPr/>
          <p:nvPr/>
        </p:nvSpPr>
        <p:spPr>
          <a:xfrm>
            <a:off x="442447" y="2379307"/>
            <a:ext cx="5482858" cy="28570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400" dirty="0">
                <a:solidFill>
                  <a:schemeClr val="bg1"/>
                </a:solidFill>
              </a:rPr>
              <a:t>Enterprise-grade</a:t>
            </a:r>
          </a:p>
          <a:p>
            <a:r>
              <a:rPr lang="en-US" sz="2400" dirty="0">
                <a:solidFill>
                  <a:schemeClr val="bg1"/>
                </a:solidFill>
              </a:rPr>
              <a:t>  Supported</a:t>
            </a:r>
          </a:p>
          <a:p>
            <a:r>
              <a:rPr lang="en-US" sz="2400" dirty="0">
                <a:solidFill>
                  <a:schemeClr val="bg1"/>
                </a:solidFill>
              </a:rPr>
              <a:t>  Secure</a:t>
            </a:r>
          </a:p>
          <a:p>
            <a:r>
              <a:rPr lang="en-US" sz="2400" dirty="0">
                <a:solidFill>
                  <a:schemeClr val="bg1"/>
                </a:solidFill>
              </a:rPr>
              <a:t>  Deployable</a:t>
            </a:r>
          </a:p>
          <a:p>
            <a:r>
              <a:rPr lang="en-US" sz="2400" dirty="0">
                <a:solidFill>
                  <a:schemeClr val="bg1"/>
                </a:solidFill>
              </a:rPr>
              <a:t>Scalable/Distributed</a:t>
            </a:r>
          </a:p>
          <a:p>
            <a:r>
              <a:rPr lang="en-US" sz="2400" dirty="0">
                <a:solidFill>
                  <a:schemeClr val="bg1"/>
                </a:solidFill>
              </a:rPr>
              <a:t>Portable</a:t>
            </a:r>
          </a:p>
        </p:txBody>
      </p:sp>
      <p:sp>
        <p:nvSpPr>
          <p:cNvPr id="4" name="Rectangle 3"/>
          <p:cNvSpPr/>
          <p:nvPr/>
        </p:nvSpPr>
        <p:spPr>
          <a:xfrm>
            <a:off x="6792710" y="2379307"/>
            <a:ext cx="5281729" cy="28570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856" dirty="0">
                <a:solidFill>
                  <a:schemeClr val="bg1"/>
                </a:solidFill>
              </a:rPr>
              <a:t>Fast, Scalable Learners</a:t>
            </a:r>
          </a:p>
          <a:p>
            <a:endParaRPr lang="en-US" sz="2856" dirty="0">
              <a:solidFill>
                <a:schemeClr val="bg1"/>
              </a:solidFill>
            </a:endParaRPr>
          </a:p>
          <a:p>
            <a:r>
              <a:rPr lang="en-US" sz="2856" dirty="0">
                <a:solidFill>
                  <a:schemeClr val="bg1"/>
                </a:solidFill>
              </a:rPr>
              <a:t>Battle-tested</a:t>
            </a:r>
          </a:p>
          <a:p>
            <a:endParaRPr lang="en-US" sz="2856" dirty="0">
              <a:solidFill>
                <a:schemeClr val="bg1"/>
              </a:solidFill>
            </a:endParaRPr>
          </a:p>
          <a:p>
            <a:r>
              <a:rPr lang="en-US" sz="2856" dirty="0">
                <a:solidFill>
                  <a:schemeClr val="bg1"/>
                </a:solidFill>
              </a:rPr>
              <a:t>State of the art</a:t>
            </a:r>
          </a:p>
        </p:txBody>
      </p:sp>
      <p:sp>
        <p:nvSpPr>
          <p:cNvPr id="5" name="Rectangle 4"/>
          <p:cNvSpPr/>
          <p:nvPr/>
        </p:nvSpPr>
        <p:spPr>
          <a:xfrm>
            <a:off x="442447" y="1744662"/>
            <a:ext cx="5482858" cy="634647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64" b="1" dirty="0">
                <a:latin typeface="+mj-lt"/>
              </a:rPr>
              <a:t>Microsoft R Server</a:t>
            </a:r>
            <a:endParaRPr lang="en-US" sz="918" b="1" dirty="0"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792710" y="1744662"/>
            <a:ext cx="5281729" cy="63464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64" b="1">
                <a:latin typeface="+mj-lt"/>
              </a:rPr>
              <a:t>MicrosoftML </a:t>
            </a:r>
            <a:r>
              <a:rPr lang="en-US" sz="3264" b="1" dirty="0">
                <a:latin typeface="+mj-lt"/>
              </a:rPr>
              <a:t>Toolkit</a:t>
            </a:r>
          </a:p>
        </p:txBody>
      </p:sp>
      <p:pic>
        <p:nvPicPr>
          <p:cNvPr id="7" name="Picture 6" descr="R Server is built to handle the data and computational needs that big data analytics and predictive modeling require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2" r="6587" b="2378"/>
          <a:stretch/>
        </p:blipFill>
        <p:spPr bwMode="auto">
          <a:xfrm>
            <a:off x="3475037" y="2653576"/>
            <a:ext cx="2230344" cy="166257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58779" y="2653575"/>
            <a:ext cx="1925718" cy="192571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925305" y="2714239"/>
            <a:ext cx="609779" cy="1150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31" b="1" dirty="0"/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81759172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sion: be the best machine learning R packag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321960" y="4271134"/>
            <a:ext cx="5753026" cy="2425528"/>
            <a:chOff x="6321960" y="4271134"/>
            <a:chExt cx="5753026" cy="2425528"/>
          </a:xfrm>
        </p:grpSpPr>
        <p:sp>
          <p:nvSpPr>
            <p:cNvPr id="27" name="Rectangle 26"/>
            <p:cNvSpPr/>
            <p:nvPr/>
          </p:nvSpPr>
          <p:spPr bwMode="auto">
            <a:xfrm>
              <a:off x="8745969" y="4271893"/>
              <a:ext cx="3329017" cy="242476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6530" tIns="146283" rIns="186530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/>
                <a:t>Cross-platform</a:t>
              </a:r>
              <a:endParaRPr lang="en-US" sz="2000" dirty="0"/>
            </a:p>
            <a:p>
              <a:pPr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/>
                <a:t>On-prem/cloud</a:t>
              </a:r>
              <a:endParaRPr lang="en-US" sz="2000" dirty="0"/>
            </a:p>
            <a:p>
              <a:pPr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/>
                <a:t>In SQL</a:t>
              </a:r>
              <a:endParaRPr lang="en-US" sz="2000" dirty="0"/>
            </a:p>
            <a:p>
              <a:pPr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/>
                <a:t>MRS</a:t>
              </a:r>
              <a:endParaRPr lang="en-US" sz="2000" dirty="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321960" y="4271134"/>
              <a:ext cx="2424010" cy="242476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3600" b="1" cap="small" dirty="0">
                  <a:latin typeface="+mj-lt"/>
                </a:rPr>
                <a:t>Integrated</a:t>
              </a:r>
            </a:p>
          </p:txBody>
        </p:sp>
        <p:grpSp>
          <p:nvGrpSpPr>
            <p:cNvPr id="29" name="Group 28"/>
            <p:cNvGrpSpPr/>
            <p:nvPr/>
          </p:nvGrpSpPr>
          <p:grpSpPr bwMode="black">
            <a:xfrm>
              <a:off x="6822515" y="5254938"/>
              <a:ext cx="541314" cy="533913"/>
              <a:chOff x="2916435" y="3914152"/>
              <a:chExt cx="930763" cy="918513"/>
            </a:xfrm>
          </p:grpSpPr>
          <p:pic>
            <p:nvPicPr>
              <p:cNvPr id="30" name="Picture 29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black">
              <a:xfrm rot="2614426" flipH="1">
                <a:off x="2916435" y="4302640"/>
                <a:ext cx="394555" cy="530025"/>
              </a:xfrm>
              <a:prstGeom prst="rect">
                <a:avLst/>
              </a:prstGeom>
            </p:spPr>
          </p:pic>
          <p:sp>
            <p:nvSpPr>
              <p:cNvPr id="31" name="Freeform 61"/>
              <p:cNvSpPr>
                <a:spLocks/>
              </p:cNvSpPr>
              <p:nvPr/>
            </p:nvSpPr>
            <p:spPr bwMode="black">
              <a:xfrm rot="10800000">
                <a:off x="3279998" y="3914152"/>
                <a:ext cx="567200" cy="820335"/>
              </a:xfrm>
              <a:custGeom>
                <a:avLst/>
                <a:gdLst/>
                <a:ahLst/>
                <a:cxnLst>
                  <a:cxn ang="0">
                    <a:pos x="251" y="363"/>
                  </a:cxn>
                  <a:cxn ang="0">
                    <a:pos x="243" y="372"/>
                  </a:cxn>
                  <a:cxn ang="0">
                    <a:pos x="35" y="372"/>
                  </a:cxn>
                  <a:cxn ang="0">
                    <a:pos x="27" y="363"/>
                  </a:cxn>
                  <a:cxn ang="0">
                    <a:pos x="27" y="36"/>
                  </a:cxn>
                  <a:cxn ang="0">
                    <a:pos x="35" y="27"/>
                  </a:cxn>
                  <a:cxn ang="0">
                    <a:pos x="243" y="27"/>
                  </a:cxn>
                  <a:cxn ang="0">
                    <a:pos x="251" y="36"/>
                  </a:cxn>
                  <a:cxn ang="0">
                    <a:pos x="251" y="108"/>
                  </a:cxn>
                  <a:cxn ang="0">
                    <a:pos x="277" y="84"/>
                  </a:cxn>
                  <a:cxn ang="0">
                    <a:pos x="277" y="10"/>
                  </a:cxn>
                  <a:cxn ang="0">
                    <a:pos x="267" y="0"/>
                  </a:cxn>
                  <a:cxn ang="0">
                    <a:pos x="11" y="0"/>
                  </a:cxn>
                  <a:cxn ang="0">
                    <a:pos x="0" y="10"/>
                  </a:cxn>
                  <a:cxn ang="0">
                    <a:pos x="0" y="389"/>
                  </a:cxn>
                  <a:cxn ang="0">
                    <a:pos x="11" y="399"/>
                  </a:cxn>
                  <a:cxn ang="0">
                    <a:pos x="267" y="399"/>
                  </a:cxn>
                  <a:cxn ang="0">
                    <a:pos x="277" y="389"/>
                  </a:cxn>
                  <a:cxn ang="0">
                    <a:pos x="277" y="168"/>
                  </a:cxn>
                  <a:cxn ang="0">
                    <a:pos x="251" y="191"/>
                  </a:cxn>
                  <a:cxn ang="0">
                    <a:pos x="251" y="363"/>
                  </a:cxn>
                </a:cxnLst>
                <a:rect l="0" t="0" r="r" b="b"/>
                <a:pathLst>
                  <a:path w="277" h="399">
                    <a:moveTo>
                      <a:pt x="251" y="363"/>
                    </a:moveTo>
                    <a:cubicBezTo>
                      <a:pt x="251" y="368"/>
                      <a:pt x="247" y="372"/>
                      <a:pt x="243" y="372"/>
                    </a:cubicBezTo>
                    <a:cubicBezTo>
                      <a:pt x="35" y="372"/>
                      <a:pt x="35" y="372"/>
                      <a:pt x="35" y="372"/>
                    </a:cubicBezTo>
                    <a:cubicBezTo>
                      <a:pt x="31" y="372"/>
                      <a:pt x="27" y="368"/>
                      <a:pt x="27" y="363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7" y="31"/>
                      <a:pt x="31" y="27"/>
                      <a:pt x="35" y="27"/>
                    </a:cubicBezTo>
                    <a:cubicBezTo>
                      <a:pt x="243" y="27"/>
                      <a:pt x="243" y="27"/>
                      <a:pt x="243" y="27"/>
                    </a:cubicBezTo>
                    <a:cubicBezTo>
                      <a:pt x="247" y="27"/>
                      <a:pt x="251" y="31"/>
                      <a:pt x="251" y="36"/>
                    </a:cubicBezTo>
                    <a:cubicBezTo>
                      <a:pt x="251" y="108"/>
                      <a:pt x="251" y="108"/>
                      <a:pt x="251" y="108"/>
                    </a:cubicBezTo>
                    <a:cubicBezTo>
                      <a:pt x="277" y="84"/>
                      <a:pt x="277" y="84"/>
                      <a:pt x="277" y="84"/>
                    </a:cubicBezTo>
                    <a:cubicBezTo>
                      <a:pt x="277" y="10"/>
                      <a:pt x="277" y="10"/>
                      <a:pt x="277" y="10"/>
                    </a:cubicBezTo>
                    <a:cubicBezTo>
                      <a:pt x="277" y="4"/>
                      <a:pt x="273" y="0"/>
                      <a:pt x="267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1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5"/>
                      <a:pt x="5" y="399"/>
                      <a:pt x="11" y="399"/>
                    </a:cubicBezTo>
                    <a:cubicBezTo>
                      <a:pt x="267" y="399"/>
                      <a:pt x="267" y="399"/>
                      <a:pt x="267" y="399"/>
                    </a:cubicBezTo>
                    <a:cubicBezTo>
                      <a:pt x="273" y="399"/>
                      <a:pt x="277" y="395"/>
                      <a:pt x="277" y="389"/>
                    </a:cubicBezTo>
                    <a:cubicBezTo>
                      <a:pt x="277" y="168"/>
                      <a:pt x="277" y="168"/>
                      <a:pt x="277" y="168"/>
                    </a:cubicBezTo>
                    <a:cubicBezTo>
                      <a:pt x="251" y="191"/>
                      <a:pt x="251" y="191"/>
                      <a:pt x="251" y="191"/>
                    </a:cubicBezTo>
                    <a:lnTo>
                      <a:pt x="251" y="363"/>
                    </a:lnTo>
                    <a:close/>
                  </a:path>
                </a:pathLst>
              </a:custGeom>
              <a:solidFill>
                <a:srgbClr val="FFFFFF"/>
              </a:solidFill>
              <a:extLst/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18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2" name="Freeform 20"/>
            <p:cNvSpPr>
              <a:spLocks noEditPoints="1"/>
            </p:cNvSpPr>
            <p:nvPr/>
          </p:nvSpPr>
          <p:spPr bwMode="black">
            <a:xfrm>
              <a:off x="7440464" y="5263628"/>
              <a:ext cx="673554" cy="468157"/>
            </a:xfrm>
            <a:custGeom>
              <a:avLst/>
              <a:gdLst/>
              <a:ahLst/>
              <a:cxnLst>
                <a:cxn ang="0">
                  <a:pos x="774" y="456"/>
                </a:cxn>
                <a:cxn ang="0">
                  <a:pos x="774" y="36"/>
                </a:cxn>
                <a:cxn ang="0">
                  <a:pos x="737" y="0"/>
                </a:cxn>
                <a:cxn ang="0">
                  <a:pos x="107" y="0"/>
                </a:cxn>
                <a:cxn ang="0">
                  <a:pos x="71" y="36"/>
                </a:cxn>
                <a:cxn ang="0">
                  <a:pos x="71" y="456"/>
                </a:cxn>
                <a:cxn ang="0">
                  <a:pos x="0" y="544"/>
                </a:cxn>
                <a:cxn ang="0">
                  <a:pos x="44" y="588"/>
                </a:cxn>
                <a:cxn ang="0">
                  <a:pos x="800" y="588"/>
                </a:cxn>
                <a:cxn ang="0">
                  <a:pos x="844" y="544"/>
                </a:cxn>
                <a:cxn ang="0">
                  <a:pos x="774" y="456"/>
                </a:cxn>
                <a:cxn ang="0">
                  <a:pos x="481" y="554"/>
                </a:cxn>
                <a:cxn ang="0">
                  <a:pos x="350" y="554"/>
                </a:cxn>
                <a:cxn ang="0">
                  <a:pos x="337" y="547"/>
                </a:cxn>
                <a:cxn ang="0">
                  <a:pos x="352" y="519"/>
                </a:cxn>
                <a:cxn ang="0">
                  <a:pos x="363" y="514"/>
                </a:cxn>
                <a:cxn ang="0">
                  <a:pos x="468" y="514"/>
                </a:cxn>
                <a:cxn ang="0">
                  <a:pos x="478" y="519"/>
                </a:cxn>
                <a:cxn ang="0">
                  <a:pos x="494" y="547"/>
                </a:cxn>
                <a:cxn ang="0">
                  <a:pos x="481" y="554"/>
                </a:cxn>
                <a:cxn ang="0">
                  <a:pos x="748" y="456"/>
                </a:cxn>
                <a:cxn ang="0">
                  <a:pos x="99" y="456"/>
                </a:cxn>
                <a:cxn ang="0">
                  <a:pos x="99" y="42"/>
                </a:cxn>
                <a:cxn ang="0">
                  <a:pos x="117" y="24"/>
                </a:cxn>
                <a:cxn ang="0">
                  <a:pos x="730" y="24"/>
                </a:cxn>
                <a:cxn ang="0">
                  <a:pos x="748" y="42"/>
                </a:cxn>
                <a:cxn ang="0">
                  <a:pos x="748" y="456"/>
                </a:cxn>
              </a:cxnLst>
              <a:rect l="0" t="0" r="r" b="b"/>
              <a:pathLst>
                <a:path w="844" h="588">
                  <a:moveTo>
                    <a:pt x="774" y="456"/>
                  </a:moveTo>
                  <a:cubicBezTo>
                    <a:pt x="774" y="36"/>
                    <a:pt x="774" y="36"/>
                    <a:pt x="774" y="36"/>
                  </a:cubicBezTo>
                  <a:cubicBezTo>
                    <a:pt x="774" y="16"/>
                    <a:pt x="757" y="0"/>
                    <a:pt x="73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87" y="0"/>
                    <a:pt x="71" y="16"/>
                    <a:pt x="71" y="36"/>
                  </a:cubicBezTo>
                  <a:cubicBezTo>
                    <a:pt x="71" y="456"/>
                    <a:pt x="71" y="456"/>
                    <a:pt x="71" y="456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568"/>
                    <a:pt x="20" y="588"/>
                    <a:pt x="44" y="588"/>
                  </a:cubicBezTo>
                  <a:cubicBezTo>
                    <a:pt x="800" y="588"/>
                    <a:pt x="800" y="588"/>
                    <a:pt x="800" y="588"/>
                  </a:cubicBezTo>
                  <a:cubicBezTo>
                    <a:pt x="824" y="588"/>
                    <a:pt x="844" y="568"/>
                    <a:pt x="844" y="544"/>
                  </a:cubicBezTo>
                  <a:lnTo>
                    <a:pt x="774" y="456"/>
                  </a:lnTo>
                  <a:close/>
                  <a:moveTo>
                    <a:pt x="481" y="554"/>
                  </a:moveTo>
                  <a:cubicBezTo>
                    <a:pt x="350" y="554"/>
                    <a:pt x="350" y="554"/>
                    <a:pt x="350" y="554"/>
                  </a:cubicBezTo>
                  <a:cubicBezTo>
                    <a:pt x="343" y="554"/>
                    <a:pt x="337" y="551"/>
                    <a:pt x="337" y="547"/>
                  </a:cubicBezTo>
                  <a:cubicBezTo>
                    <a:pt x="352" y="519"/>
                    <a:pt x="352" y="519"/>
                    <a:pt x="352" y="519"/>
                  </a:cubicBezTo>
                  <a:cubicBezTo>
                    <a:pt x="352" y="516"/>
                    <a:pt x="357" y="514"/>
                    <a:pt x="363" y="514"/>
                  </a:cubicBezTo>
                  <a:cubicBezTo>
                    <a:pt x="468" y="514"/>
                    <a:pt x="468" y="514"/>
                    <a:pt x="468" y="514"/>
                  </a:cubicBezTo>
                  <a:cubicBezTo>
                    <a:pt x="473" y="514"/>
                    <a:pt x="478" y="516"/>
                    <a:pt x="478" y="519"/>
                  </a:cubicBezTo>
                  <a:cubicBezTo>
                    <a:pt x="494" y="547"/>
                    <a:pt x="494" y="547"/>
                    <a:pt x="494" y="547"/>
                  </a:cubicBezTo>
                  <a:cubicBezTo>
                    <a:pt x="494" y="551"/>
                    <a:pt x="488" y="554"/>
                    <a:pt x="481" y="554"/>
                  </a:cubicBezTo>
                  <a:close/>
                  <a:moveTo>
                    <a:pt x="748" y="456"/>
                  </a:moveTo>
                  <a:cubicBezTo>
                    <a:pt x="99" y="456"/>
                    <a:pt x="99" y="456"/>
                    <a:pt x="99" y="456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32"/>
                    <a:pt x="107" y="24"/>
                    <a:pt x="117" y="24"/>
                  </a:cubicBezTo>
                  <a:cubicBezTo>
                    <a:pt x="730" y="24"/>
                    <a:pt x="730" y="24"/>
                    <a:pt x="730" y="24"/>
                  </a:cubicBezTo>
                  <a:cubicBezTo>
                    <a:pt x="740" y="24"/>
                    <a:pt x="748" y="32"/>
                    <a:pt x="748" y="42"/>
                  </a:cubicBezTo>
                  <a:lnTo>
                    <a:pt x="748" y="456"/>
                  </a:lnTo>
                  <a:close/>
                </a:path>
              </a:pathLst>
            </a:custGeom>
            <a:solidFill>
              <a:srgbClr val="FFFFFF"/>
            </a:solidFill>
            <a:extLst/>
          </p:spPr>
          <p:txBody>
            <a:bodyPr vert="horz" wrap="square" lIns="83943" tIns="41972" rIns="83943" bIns="41972" numCol="1" anchor="t" anchorCtr="0" compatLnSpc="1">
              <a:prstTxWarp prst="textNoShape">
                <a:avLst/>
              </a:prstTxWarp>
            </a:bodyPr>
            <a:lstStyle/>
            <a:p>
              <a:endParaRPr lang="en-US" sz="918" dirty="0">
                <a:solidFill>
                  <a:srgbClr val="FFFFFF"/>
                </a:solidFill>
              </a:endParaRPr>
            </a:p>
          </p:txBody>
        </p:sp>
        <p:pic>
          <p:nvPicPr>
            <p:cNvPr id="33" name="Picture 2" descr="C:\Users\chrisw\Desktop\Cloud Services 3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black">
            <a:xfrm>
              <a:off x="7074359" y="5918336"/>
              <a:ext cx="691845" cy="4769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oup 2"/>
          <p:cNvGrpSpPr/>
          <p:nvPr/>
        </p:nvGrpSpPr>
        <p:grpSpPr>
          <a:xfrm>
            <a:off x="305448" y="1416458"/>
            <a:ext cx="5717728" cy="2424769"/>
            <a:chOff x="305448" y="1416458"/>
            <a:chExt cx="5717728" cy="2424769"/>
          </a:xfrm>
        </p:grpSpPr>
        <p:sp>
          <p:nvSpPr>
            <p:cNvPr id="23" name="Rectangle 22"/>
            <p:cNvSpPr/>
            <p:nvPr/>
          </p:nvSpPr>
          <p:spPr>
            <a:xfrm>
              <a:off x="305448" y="1417217"/>
              <a:ext cx="2424010" cy="242401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3600" b="1" cap="small" dirty="0">
                  <a:latin typeface="+mj-lt"/>
                </a:rPr>
                <a:t> Simpler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2725894" y="1416458"/>
              <a:ext cx="3297282" cy="242476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6530" tIns="146283" rIns="186530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/>
                <a:t>Auto-featurization</a:t>
              </a:r>
            </a:p>
            <a:p>
              <a:pPr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/>
                <a:t>Auto-tuning</a:t>
              </a:r>
            </a:p>
            <a:p>
              <a:pPr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/>
                <a:t>Consistent interfaces</a:t>
              </a:r>
            </a:p>
            <a:p>
              <a:pPr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/>
                <a:t>Easy operationalization</a:t>
              </a:r>
              <a:endParaRPr lang="en-US" sz="2040" dirty="0"/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696633" y="2100101"/>
              <a:ext cx="1549114" cy="1585386"/>
              <a:chOff x="630169" y="1970974"/>
              <a:chExt cx="1518877" cy="1554441"/>
            </a:xfrm>
          </p:grpSpPr>
          <p:sp>
            <p:nvSpPr>
              <p:cNvPr id="35" name="Oval 34"/>
              <p:cNvSpPr/>
              <p:nvPr/>
            </p:nvSpPr>
            <p:spPr>
              <a:xfrm>
                <a:off x="630169" y="1970974"/>
                <a:ext cx="1518877" cy="1518877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36"/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858867" y="1978336"/>
                <a:ext cx="551943" cy="7829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4488" dirty="0">
                    <a:solidFill>
                      <a:schemeClr val="bg1"/>
                    </a:solidFill>
                    <a:latin typeface="+mj-lt"/>
                  </a:rPr>
                  <a:t>1</a:t>
                </a:r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1176231" y="2356351"/>
                <a:ext cx="551943" cy="7829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4488" dirty="0">
                    <a:solidFill>
                      <a:schemeClr val="bg1"/>
                    </a:solidFill>
                    <a:latin typeface="+mj-lt"/>
                  </a:rPr>
                  <a:t>2</a:t>
                </a: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1458000" y="2742444"/>
                <a:ext cx="551943" cy="7829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4488" dirty="0">
                    <a:solidFill>
                      <a:schemeClr val="bg1"/>
                    </a:solidFill>
                    <a:latin typeface="+mj-lt"/>
                  </a:rPr>
                  <a:t>3</a:t>
                </a: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305448" y="4271893"/>
            <a:ext cx="5753403" cy="2424769"/>
            <a:chOff x="305448" y="4271893"/>
            <a:chExt cx="5753403" cy="2424769"/>
          </a:xfrm>
        </p:grpSpPr>
        <p:sp>
          <p:nvSpPr>
            <p:cNvPr id="39" name="Rectangle 38"/>
            <p:cNvSpPr/>
            <p:nvPr/>
          </p:nvSpPr>
          <p:spPr bwMode="auto">
            <a:xfrm>
              <a:off x="2725894" y="4271893"/>
              <a:ext cx="3332957" cy="242476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6530" tIns="146283" rIns="186530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1"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/>
                <a:t>Fast featurization</a:t>
              </a:r>
              <a:endParaRPr lang="en-US" sz="2000" dirty="0"/>
            </a:p>
            <a:p>
              <a:pPr marL="0" lvl="1"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/>
                <a:t>Fast training </a:t>
              </a:r>
              <a:endParaRPr lang="en-US" sz="2000" dirty="0"/>
            </a:p>
            <a:p>
              <a:pPr marL="0" lvl="1"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/>
                <a:t>Fast prediction</a:t>
              </a:r>
              <a:endParaRPr lang="en-US" sz="2000" dirty="0"/>
            </a:p>
            <a:p>
              <a:pPr marL="0" lvl="1"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/>
                <a:t>Multi-core</a:t>
              </a:r>
              <a:endParaRPr lang="en-US" sz="2000" dirty="0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05448" y="4271893"/>
              <a:ext cx="2424010" cy="242401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3600" b="1" cap="small" dirty="0">
                  <a:latin typeface="+mj-lt"/>
                </a:rPr>
                <a:t> Faster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943504" y="4864887"/>
              <a:ext cx="1468481" cy="16308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9791">
                  <a:solidFill>
                    <a:schemeClr val="bg1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  <a:cs typeface="Segoe UI" panose="020B0502040204020203" pitchFamily="34" charset="0"/>
                </a:rPr>
                <a:t>🏃</a:t>
              </a:r>
              <a:endParaRPr lang="en-US" sz="979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321960" y="1423651"/>
            <a:ext cx="5753027" cy="2424769"/>
            <a:chOff x="6321960" y="1423651"/>
            <a:chExt cx="5753027" cy="2424769"/>
          </a:xfrm>
        </p:grpSpPr>
        <p:sp>
          <p:nvSpPr>
            <p:cNvPr id="25" name="Rectangle 24"/>
            <p:cNvSpPr/>
            <p:nvPr/>
          </p:nvSpPr>
          <p:spPr bwMode="auto">
            <a:xfrm>
              <a:off x="8745969" y="1423651"/>
              <a:ext cx="3329018" cy="242476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6530" tIns="146283" rIns="186530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solidFill>
                    <a:schemeClr val="tx1"/>
                  </a:solidFill>
                </a:rPr>
                <a:t>State-of-the-art accuracy</a:t>
              </a:r>
            </a:p>
            <a:p>
              <a:pPr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solidFill>
                    <a:schemeClr val="tx1"/>
                  </a:solidFill>
                </a:rPr>
                <a:t>Detailed feedback</a:t>
              </a:r>
            </a:p>
            <a:p>
              <a:pPr defTabSz="9321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solidFill>
                    <a:schemeClr val="tx1"/>
                  </a:solidFill>
                  <a:ea typeface="Segoe UI" pitchFamily="34" charset="0"/>
                  <a:cs typeface="Segoe UI" pitchFamily="34" charset="0"/>
                </a:rPr>
                <a:t>Scalable by rows or cols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321960" y="1423651"/>
              <a:ext cx="2424010" cy="242401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3600" b="1" cap="small" dirty="0">
                  <a:latin typeface="+mj-lt"/>
                </a:rPr>
                <a:t> Better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6908304" y="2127390"/>
              <a:ext cx="1362211" cy="1502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8975" b="1" dirty="0">
                  <a:solidFill>
                    <a:schemeClr val="bg1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🏆</a:t>
              </a:r>
              <a:endParaRPr lang="en-US" sz="8975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90143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d_EtdK0mBCXdrjjRQ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d_EtdK0mBCXdrjjRQhw"/>
</p:tagLst>
</file>

<file path=ppt/theme/theme1.xml><?xml version="1.0" encoding="utf-8"?>
<a:theme xmlns:a="http://schemas.openxmlformats.org/drawingml/2006/main" name="Ignite_Breakout_Template">
  <a:themeElements>
    <a:clrScheme name="Ignite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FFB900"/>
      </a:accent2>
      <a:accent3>
        <a:srgbClr val="FF8C00"/>
      </a:accent3>
      <a:accent4>
        <a:srgbClr val="A80000"/>
      </a:accent4>
      <a:accent5>
        <a:srgbClr val="505050"/>
      </a:accent5>
      <a:accent6>
        <a:srgbClr val="D2D2D2"/>
      </a:accent6>
      <a:hlink>
        <a:srgbClr val="D83B01"/>
      </a:hlink>
      <a:folHlink>
        <a:srgbClr val="A8000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6_16x9_Template [Read-Only]" id="{28841E4C-3918-4368-B735-2FEE76A3D5D1}" vid="{2645CAE1-4F94-464F-93A7-E31E48A0E182}"/>
    </a:ext>
  </a:extLst>
</a:theme>
</file>

<file path=ppt/theme/theme2.xml><?xml version="1.0" encoding="utf-8"?>
<a:theme xmlns:a="http://schemas.openxmlformats.org/drawingml/2006/main" name="5-30610_Microsoft_Ignite_Keynote_Template">
  <a:themeElements>
    <a:clrScheme name="Ignite - Breakout - Gray Back">
      <a:dk1>
        <a:srgbClr val="000000"/>
      </a:dk1>
      <a:lt1>
        <a:srgbClr val="FFFFFF"/>
      </a:lt1>
      <a:dk2>
        <a:srgbClr val="505050"/>
      </a:dk2>
      <a:lt2>
        <a:srgbClr val="47D8FF"/>
      </a:lt2>
      <a:accent1>
        <a:srgbClr val="0078D7"/>
      </a:accent1>
      <a:accent2>
        <a:srgbClr val="5C2D91"/>
      </a:accent2>
      <a:accent3>
        <a:srgbClr val="B4009E"/>
      </a:accent3>
      <a:accent4>
        <a:srgbClr val="00BCF2"/>
      </a:accent4>
      <a:accent5>
        <a:srgbClr val="BAD80A"/>
      </a:accent5>
      <a:accent6>
        <a:srgbClr val="FF8C00"/>
      </a:accent6>
      <a:hlink>
        <a:srgbClr val="47D8FF"/>
      </a:hlink>
      <a:folHlink>
        <a:srgbClr val="47D8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398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16814">
                  <a:srgbClr val="FFFFFF"/>
                </a:gs>
                <a:gs pos="46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Breakout_Template_v02.potx" id="{DA6A3121-A306-4E81-BF43-CBCE095D8B76}" vid="{C3266B5A-74AF-44F8-8FA8-F258E4A695D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6_16x9_Template_draft</Template>
  <TotalTime>0</TotalTime>
  <Words>2652</Words>
  <Application>Microsoft Office PowerPoint</Application>
  <PresentationFormat>Custom</PresentationFormat>
  <Paragraphs>586</Paragraphs>
  <Slides>52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52</vt:i4>
      </vt:variant>
    </vt:vector>
  </HeadingPairs>
  <TitlesOfParts>
    <vt:vector size="66" baseType="lpstr">
      <vt:lpstr>ＭＳ Ｐゴシック</vt:lpstr>
      <vt:lpstr>Arial</vt:lpstr>
      <vt:lpstr>Consolas</vt:lpstr>
      <vt:lpstr>Segoe Pro Light</vt:lpstr>
      <vt:lpstr>Segoe UI</vt:lpstr>
      <vt:lpstr>Segoe UI Black</vt:lpstr>
      <vt:lpstr>Segoe UI Light</vt:lpstr>
      <vt:lpstr>Segoe UI Semibold</vt:lpstr>
      <vt:lpstr>Segoe UI Semilight</vt:lpstr>
      <vt:lpstr>Segoe UI Symbol</vt:lpstr>
      <vt:lpstr>Wingdings</vt:lpstr>
      <vt:lpstr>Wingdings 3</vt:lpstr>
      <vt:lpstr>Ignite_Breakout_Template</vt:lpstr>
      <vt:lpstr>5-30610_Microsoft_Ignite_Keynote_Template</vt:lpstr>
      <vt:lpstr>PowerPoint Presentation</vt:lpstr>
      <vt:lpstr>Contents</vt:lpstr>
      <vt:lpstr>Microsoft R Server</vt:lpstr>
      <vt:lpstr>PowerPoint Presentation</vt:lpstr>
      <vt:lpstr>Challenges posed by open source R</vt:lpstr>
      <vt:lpstr>R from Microsoft brings</vt:lpstr>
      <vt:lpstr>MicrosoftML</vt:lpstr>
      <vt:lpstr>MicrosoftML = Scalable R + world class ML</vt:lpstr>
      <vt:lpstr>Vision: be the best machine learning R package</vt:lpstr>
      <vt:lpstr>Key differentiators</vt:lpstr>
      <vt:lpstr>Initial feature set (more to come)</vt:lpstr>
      <vt:lpstr>SQL Server R Services</vt:lpstr>
      <vt:lpstr>Introducing SQL Server 2016 R Services</vt:lpstr>
      <vt:lpstr>SQL Server Enterprise Edition R Services</vt:lpstr>
      <vt:lpstr>Scalable in-database analytics</vt:lpstr>
      <vt:lpstr>R Server operationalisation</vt:lpstr>
      <vt:lpstr>Operationalising advanced analytics</vt:lpstr>
      <vt:lpstr>Best-in-class deployment experience</vt:lpstr>
      <vt:lpstr>Easy deployment</vt:lpstr>
      <vt:lpstr>Shiny vs R Server deployment</vt:lpstr>
      <vt:lpstr>Team data science process</vt:lpstr>
      <vt:lpstr>Team data science process</vt:lpstr>
      <vt:lpstr>Standard project structure + repo</vt:lpstr>
      <vt:lpstr>PowerPoint Presentation</vt:lpstr>
      <vt:lpstr>PowerPoint Presentation</vt:lpstr>
      <vt:lpstr>Galaxy classification</vt:lpstr>
      <vt:lpstr>Classifying galaxy structure with DN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“Hubble tuning fork”</vt:lpstr>
      <vt:lpstr>The data deluge</vt:lpstr>
      <vt:lpstr>The Galaxy Zoo</vt:lpstr>
      <vt:lpstr>How to classify?</vt:lpstr>
      <vt:lpstr>Deep learning for image recognition</vt:lpstr>
      <vt:lpstr>Network anatomy</vt:lpstr>
      <vt:lpstr>Results</vt:lpstr>
      <vt:lpstr>Workflow outline</vt:lpstr>
      <vt:lpstr>Model fitting</vt:lpstr>
      <vt:lpstr>Export model to SQL</vt:lpstr>
      <vt:lpstr>Prediction function (simplified)</vt:lpstr>
      <vt:lpstr>Export code to SQL</vt:lpstr>
      <vt:lpstr>Deploy code to call SQL</vt:lpstr>
      <vt:lpstr>Demo</vt:lpstr>
      <vt:lpstr>Packages used</vt:lpstr>
      <vt:lpstr>Links</vt:lpstr>
      <vt:lpstr>Continue your Ignite learning path</vt:lpstr>
      <vt:lpstr>Win a Spark After Dark drone  pilot pass by completing your  session evaluation ASAP   #MSAUIGNITE</vt:lpstr>
      <vt:lpstr>Remember to collect your  wristbands for Spark After Dark!   Located at Ignite Help Desk,  Foyer C, Foyers Halls ¾   #MSAUIGNITE </vt:lpstr>
      <vt:lpstr>Thank you  Chat with me in the Speaker Lounge  Contact me: hongooi@microsoft.com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6-07-14T12:34:12Z</dcterms:created>
  <dcterms:modified xsi:type="dcterms:W3CDTF">2017-02-16T01:44:24Z</dcterms:modified>
  <cp:category/>
</cp:coreProperties>
</file>